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09" r:id="rId5"/>
    <p:sldMasterId id="2147483715" r:id="rId6"/>
    <p:sldMasterId id="2147483660" r:id="rId7"/>
  </p:sldMasterIdLst>
  <p:notesMasterIdLst>
    <p:notesMasterId r:id="rId22"/>
  </p:notesMasterIdLst>
  <p:sldIdLst>
    <p:sldId id="2134806072" r:id="rId8"/>
    <p:sldId id="2134806094" r:id="rId9"/>
    <p:sldId id="2134806095" r:id="rId10"/>
    <p:sldId id="2134806047" r:id="rId11"/>
    <p:sldId id="2134806083" r:id="rId12"/>
    <p:sldId id="2134806084" r:id="rId13"/>
    <p:sldId id="2134806085" r:id="rId14"/>
    <p:sldId id="2134806086" r:id="rId15"/>
    <p:sldId id="2134806087" r:id="rId16"/>
    <p:sldId id="2134806088" r:id="rId17"/>
    <p:sldId id="2134806091" r:id="rId18"/>
    <p:sldId id="2134806092" r:id="rId19"/>
    <p:sldId id="2134806093" r:id="rId20"/>
    <p:sldId id="26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1A1C"/>
    <a:srgbClr val="54BDF7"/>
    <a:srgbClr val="F1ECFA"/>
    <a:srgbClr val="175C82"/>
    <a:srgbClr val="D0D1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5169F6-4C49-4342-A2A8-BA76B313B924}" v="16" dt="2025-06-23T08:22:55.2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78"/>
    <p:restoredTop sz="94698"/>
  </p:normalViewPr>
  <p:slideViewPr>
    <p:cSldViewPr snapToGrid="0" showGuides="1">
      <p:cViewPr varScale="1">
        <p:scale>
          <a:sx n="130" d="100"/>
          <a:sy n="130" d="100"/>
        </p:scale>
        <p:origin x="912" y="-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y Ivison" userId="767f360b-839d-47f8-9ee7-e0cff77c302f" providerId="ADAL" clId="{9FA3CFE9-9399-4D8C-8A38-DE0F8DD1F2A8}"/>
    <pc:docChg chg="custSel modSld">
      <pc:chgData name="Jenny Ivison" userId="767f360b-839d-47f8-9ee7-e0cff77c302f" providerId="ADAL" clId="{9FA3CFE9-9399-4D8C-8A38-DE0F8DD1F2A8}" dt="2025-06-10T14:17:41.447" v="9" actId="1076"/>
      <pc:docMkLst>
        <pc:docMk/>
      </pc:docMkLst>
      <pc:sldChg chg="addSp delSp modSp mod">
        <pc:chgData name="Jenny Ivison" userId="767f360b-839d-47f8-9ee7-e0cff77c302f" providerId="ADAL" clId="{9FA3CFE9-9399-4D8C-8A38-DE0F8DD1F2A8}" dt="2025-06-10T14:17:41.447" v="9" actId="1076"/>
        <pc:sldMkLst>
          <pc:docMk/>
          <pc:sldMk cId="4045559935" sldId="2134806072"/>
        </pc:sldMkLst>
        <pc:picChg chg="mod">
          <ac:chgData name="Jenny Ivison" userId="767f360b-839d-47f8-9ee7-e0cff77c302f" providerId="ADAL" clId="{9FA3CFE9-9399-4D8C-8A38-DE0F8DD1F2A8}" dt="2025-06-10T14:17:41.447" v="9" actId="1076"/>
          <ac:picMkLst>
            <pc:docMk/>
            <pc:sldMk cId="4045559935" sldId="2134806072"/>
            <ac:picMk id="5" creationId="{240BB6E0-3E2D-07EC-E422-648628C03375}"/>
          </ac:picMkLst>
        </pc:picChg>
        <pc:picChg chg="add mod ord">
          <ac:chgData name="Jenny Ivison" userId="767f360b-839d-47f8-9ee7-e0cff77c302f" providerId="ADAL" clId="{9FA3CFE9-9399-4D8C-8A38-DE0F8DD1F2A8}" dt="2025-06-10T14:17:31.488" v="7" actId="167"/>
          <ac:picMkLst>
            <pc:docMk/>
            <pc:sldMk cId="4045559935" sldId="2134806072"/>
            <ac:picMk id="7" creationId="{38DF9BBC-3327-D56E-34B8-A8DEDD4B2B44}"/>
          </ac:picMkLst>
        </pc:picChg>
      </pc:sldChg>
    </pc:docChg>
  </pc:docChgLst>
  <pc:docChgLst>
    <pc:chgData name="Suzanne Strathern" userId="76213b13-8a7d-4f8b-83fb-91be79e57b57" providerId="ADAL" clId="{F363A302-D377-450B-9874-A1821CC6CA2F}"/>
    <pc:docChg chg="modSld">
      <pc:chgData name="Suzanne Strathern" userId="76213b13-8a7d-4f8b-83fb-91be79e57b57" providerId="ADAL" clId="{F363A302-D377-450B-9874-A1821CC6CA2F}" dt="2025-04-04T12:43:58.528" v="0" actId="6549"/>
      <pc:docMkLst>
        <pc:docMk/>
      </pc:docMkLst>
      <pc:sldChg chg="modNotesTx">
        <pc:chgData name="Suzanne Strathern" userId="76213b13-8a7d-4f8b-83fb-91be79e57b57" providerId="ADAL" clId="{F363A302-D377-450B-9874-A1821CC6CA2F}" dt="2025-04-04T12:43:58.528" v="0" actId="6549"/>
        <pc:sldMkLst>
          <pc:docMk/>
          <pc:sldMk cId="4045559935" sldId="2134806072"/>
        </pc:sldMkLst>
      </pc:sldChg>
    </pc:docChg>
  </pc:docChgLst>
  <pc:docChgLst>
    <pc:chgData name="Emma Morris" userId="70c6f1a6-3d9c-40dc-abd7-ac4fa70f9b1e" providerId="ADAL" clId="{415169F6-4C49-4342-A2A8-BA76B313B924}"/>
    <pc:docChg chg="undo custSel modSld">
      <pc:chgData name="Emma Morris" userId="70c6f1a6-3d9c-40dc-abd7-ac4fa70f9b1e" providerId="ADAL" clId="{415169F6-4C49-4342-A2A8-BA76B313B924}" dt="2025-06-23T08:22:55.247" v="358" actId="167"/>
      <pc:docMkLst>
        <pc:docMk/>
      </pc:docMkLst>
      <pc:sldChg chg="addSp modSp mod">
        <pc:chgData name="Emma Morris" userId="70c6f1a6-3d9c-40dc-abd7-ac4fa70f9b1e" providerId="ADAL" clId="{415169F6-4C49-4342-A2A8-BA76B313B924}" dt="2025-06-17T14:16:51.463" v="355" actId="207"/>
        <pc:sldMkLst>
          <pc:docMk/>
          <pc:sldMk cId="1277872877" sldId="263"/>
        </pc:sldMkLst>
        <pc:picChg chg="add mod">
          <ac:chgData name="Emma Morris" userId="70c6f1a6-3d9c-40dc-abd7-ac4fa70f9b1e" providerId="ADAL" clId="{415169F6-4C49-4342-A2A8-BA76B313B924}" dt="2025-06-17T14:16:51.463" v="355" actId="207"/>
          <ac:picMkLst>
            <pc:docMk/>
            <pc:sldMk cId="1277872877" sldId="263"/>
            <ac:picMk id="3" creationId="{C51AA3BD-2A97-3286-47DF-DD5639A56193}"/>
          </ac:picMkLst>
        </pc:picChg>
      </pc:sldChg>
      <pc:sldChg chg="addSp delSp modSp mod chgLayout">
        <pc:chgData name="Emma Morris" userId="70c6f1a6-3d9c-40dc-abd7-ac4fa70f9b1e" providerId="ADAL" clId="{415169F6-4C49-4342-A2A8-BA76B313B924}" dt="2025-06-17T14:16:36.130" v="344"/>
        <pc:sldMkLst>
          <pc:docMk/>
          <pc:sldMk cId="10870302" sldId="2134806047"/>
        </pc:sldMkLst>
        <pc:spChg chg="mod ord">
          <ac:chgData name="Emma Morris" userId="70c6f1a6-3d9c-40dc-abd7-ac4fa70f9b1e" providerId="ADAL" clId="{415169F6-4C49-4342-A2A8-BA76B313B924}" dt="2025-06-04T13:52:14.601" v="13" actId="6264"/>
          <ac:spMkLst>
            <pc:docMk/>
            <pc:sldMk cId="10870302" sldId="2134806047"/>
            <ac:spMk id="3" creationId="{C5690CC2-D037-4DDF-B1A0-4DF23A5579EA}"/>
          </ac:spMkLst>
        </pc:spChg>
        <pc:spChg chg="add mod ord">
          <ac:chgData name="Emma Morris" userId="70c6f1a6-3d9c-40dc-abd7-ac4fa70f9b1e" providerId="ADAL" clId="{415169F6-4C49-4342-A2A8-BA76B313B924}" dt="2025-06-04T13:52:23.537" v="15" actId="20577"/>
          <ac:spMkLst>
            <pc:docMk/>
            <pc:sldMk cId="10870302" sldId="2134806047"/>
            <ac:spMk id="5" creationId="{C64F025F-2433-DF08-9677-92B3FE6BFFBA}"/>
          </ac:spMkLst>
        </pc:spChg>
        <pc:picChg chg="add mod">
          <ac:chgData name="Emma Morris" userId="70c6f1a6-3d9c-40dc-abd7-ac4fa70f9b1e" providerId="ADAL" clId="{415169F6-4C49-4342-A2A8-BA76B313B924}" dt="2025-06-17T14:16:36.130" v="344"/>
          <ac:picMkLst>
            <pc:docMk/>
            <pc:sldMk cId="10870302" sldId="2134806047"/>
            <ac:picMk id="2" creationId="{3620324B-0084-D778-A627-4C8A3EA25BF0}"/>
          </ac:picMkLst>
        </pc:picChg>
      </pc:sldChg>
      <pc:sldChg chg="addSp delSp modSp mod">
        <pc:chgData name="Emma Morris" userId="70c6f1a6-3d9c-40dc-abd7-ac4fa70f9b1e" providerId="ADAL" clId="{415169F6-4C49-4342-A2A8-BA76B313B924}" dt="2025-06-23T08:22:55.247" v="358" actId="167"/>
        <pc:sldMkLst>
          <pc:docMk/>
          <pc:sldMk cId="4045559935" sldId="2134806072"/>
        </pc:sldMkLst>
        <pc:spChg chg="mod">
          <ac:chgData name="Emma Morris" userId="70c6f1a6-3d9c-40dc-abd7-ac4fa70f9b1e" providerId="ADAL" clId="{415169F6-4C49-4342-A2A8-BA76B313B924}" dt="2025-06-04T14:08:18.556" v="245" actId="1076"/>
          <ac:spMkLst>
            <pc:docMk/>
            <pc:sldMk cId="4045559935" sldId="2134806072"/>
            <ac:spMk id="8" creationId="{AF31F27D-A071-310D-4DD5-41C06EFDE673}"/>
          </ac:spMkLst>
        </pc:spChg>
        <pc:picChg chg="add mod">
          <ac:chgData name="Emma Morris" userId="70c6f1a6-3d9c-40dc-abd7-ac4fa70f9b1e" providerId="ADAL" clId="{415169F6-4C49-4342-A2A8-BA76B313B924}" dt="2025-06-17T14:16:23.457" v="341"/>
          <ac:picMkLst>
            <pc:docMk/>
            <pc:sldMk cId="4045559935" sldId="2134806072"/>
            <ac:picMk id="4" creationId="{1B0D179E-E782-2198-869F-72B090B504E7}"/>
          </ac:picMkLst>
        </pc:picChg>
        <pc:picChg chg="mod">
          <ac:chgData name="Emma Morris" userId="70c6f1a6-3d9c-40dc-abd7-ac4fa70f9b1e" providerId="ADAL" clId="{415169F6-4C49-4342-A2A8-BA76B313B924}" dt="2025-06-23T08:22:26.429" v="356" actId="167"/>
          <ac:picMkLst>
            <pc:docMk/>
            <pc:sldMk cId="4045559935" sldId="2134806072"/>
            <ac:picMk id="5" creationId="{240BB6E0-3E2D-07EC-E422-648628C03375}"/>
          </ac:picMkLst>
        </pc:picChg>
        <pc:picChg chg="mod">
          <ac:chgData name="Emma Morris" userId="70c6f1a6-3d9c-40dc-abd7-ac4fa70f9b1e" providerId="ADAL" clId="{415169F6-4C49-4342-A2A8-BA76B313B924}" dt="2025-06-23T08:22:55.247" v="358" actId="167"/>
          <ac:picMkLst>
            <pc:docMk/>
            <pc:sldMk cId="4045559935" sldId="2134806072"/>
            <ac:picMk id="7" creationId="{38DF9BBC-3327-D56E-34B8-A8DEDD4B2B44}"/>
          </ac:picMkLst>
        </pc:picChg>
        <pc:picChg chg="add mod">
          <ac:chgData name="Emma Morris" userId="70c6f1a6-3d9c-40dc-abd7-ac4fa70f9b1e" providerId="ADAL" clId="{415169F6-4C49-4342-A2A8-BA76B313B924}" dt="2025-06-17T14:16:23.457" v="341"/>
          <ac:picMkLst>
            <pc:docMk/>
            <pc:sldMk cId="4045559935" sldId="2134806072"/>
            <ac:picMk id="10" creationId="{D647A2ED-A5A7-8E10-7160-9AF57EC478CE}"/>
          </ac:picMkLst>
        </pc:picChg>
        <pc:picChg chg="add mod">
          <ac:chgData name="Emma Morris" userId="70c6f1a6-3d9c-40dc-abd7-ac4fa70f9b1e" providerId="ADAL" clId="{415169F6-4C49-4342-A2A8-BA76B313B924}" dt="2025-06-17T14:16:23.457" v="341"/>
          <ac:picMkLst>
            <pc:docMk/>
            <pc:sldMk cId="4045559935" sldId="2134806072"/>
            <ac:picMk id="11" creationId="{C269D17C-F5EB-5F5C-164D-920ED5D369F3}"/>
          </ac:picMkLst>
        </pc:picChg>
      </pc:sldChg>
      <pc:sldChg chg="addSp delSp modSp mod">
        <pc:chgData name="Emma Morris" userId="70c6f1a6-3d9c-40dc-abd7-ac4fa70f9b1e" providerId="ADAL" clId="{415169F6-4C49-4342-A2A8-BA76B313B924}" dt="2025-06-17T14:16:36.862" v="345"/>
        <pc:sldMkLst>
          <pc:docMk/>
          <pc:sldMk cId="365355314" sldId="2134806083"/>
        </pc:sldMkLst>
        <pc:spChg chg="mod">
          <ac:chgData name="Emma Morris" userId="70c6f1a6-3d9c-40dc-abd7-ac4fa70f9b1e" providerId="ADAL" clId="{415169F6-4C49-4342-A2A8-BA76B313B924}" dt="2025-06-04T13:52:27.518" v="16" actId="115"/>
          <ac:spMkLst>
            <pc:docMk/>
            <pc:sldMk cId="365355314" sldId="2134806083"/>
            <ac:spMk id="3" creationId="{C5690CC2-D037-4DDF-B1A0-4DF23A5579EA}"/>
          </ac:spMkLst>
        </pc:spChg>
        <pc:spChg chg="mod">
          <ac:chgData name="Emma Morris" userId="70c6f1a6-3d9c-40dc-abd7-ac4fa70f9b1e" providerId="ADAL" clId="{415169F6-4C49-4342-A2A8-BA76B313B924}" dt="2025-06-04T13:55:00.525" v="50" actId="1076"/>
          <ac:spMkLst>
            <pc:docMk/>
            <pc:sldMk cId="365355314" sldId="2134806083"/>
            <ac:spMk id="4" creationId="{20A4BD84-B4A2-4BE8-88CE-AAEC69ED8D0D}"/>
          </ac:spMkLst>
        </pc:spChg>
        <pc:spChg chg="add mod">
          <ac:chgData name="Emma Morris" userId="70c6f1a6-3d9c-40dc-abd7-ac4fa70f9b1e" providerId="ADAL" clId="{415169F6-4C49-4342-A2A8-BA76B313B924}" dt="2025-06-05T13:06:13.400" v="281" actId="2085"/>
          <ac:spMkLst>
            <pc:docMk/>
            <pc:sldMk cId="365355314" sldId="2134806083"/>
            <ac:spMk id="5" creationId="{F09A1541-C935-024D-28A2-733E2332CB1A}"/>
          </ac:spMkLst>
        </pc:spChg>
        <pc:spChg chg="add mod">
          <ac:chgData name="Emma Morris" userId="70c6f1a6-3d9c-40dc-abd7-ac4fa70f9b1e" providerId="ADAL" clId="{415169F6-4C49-4342-A2A8-BA76B313B924}" dt="2025-06-05T13:07:27.127" v="309" actId="2085"/>
          <ac:spMkLst>
            <pc:docMk/>
            <pc:sldMk cId="365355314" sldId="2134806083"/>
            <ac:spMk id="8" creationId="{68DBBFC7-CC45-A00E-4802-FE485D889354}"/>
          </ac:spMkLst>
        </pc:spChg>
        <pc:spChg chg="add mod">
          <ac:chgData name="Emma Morris" userId="70c6f1a6-3d9c-40dc-abd7-ac4fa70f9b1e" providerId="ADAL" clId="{415169F6-4C49-4342-A2A8-BA76B313B924}" dt="2025-06-04T13:54:49.319" v="46"/>
          <ac:spMkLst>
            <pc:docMk/>
            <pc:sldMk cId="365355314" sldId="2134806083"/>
            <ac:spMk id="9" creationId="{2813E2F2-2874-DEBF-488B-4C50C2F6ABC6}"/>
          </ac:spMkLst>
        </pc:spChg>
        <pc:picChg chg="add mod">
          <ac:chgData name="Emma Morris" userId="70c6f1a6-3d9c-40dc-abd7-ac4fa70f9b1e" providerId="ADAL" clId="{415169F6-4C49-4342-A2A8-BA76B313B924}" dt="2025-06-17T14:16:36.862" v="345"/>
          <ac:picMkLst>
            <pc:docMk/>
            <pc:sldMk cId="365355314" sldId="2134806083"/>
            <ac:picMk id="2" creationId="{E32944F7-7622-B152-50E8-E1CB7BCF352E}"/>
          </ac:picMkLst>
        </pc:picChg>
      </pc:sldChg>
      <pc:sldChg chg="addSp delSp modSp mod">
        <pc:chgData name="Emma Morris" userId="70c6f1a6-3d9c-40dc-abd7-ac4fa70f9b1e" providerId="ADAL" clId="{415169F6-4C49-4342-A2A8-BA76B313B924}" dt="2025-06-17T14:16:37.514" v="346"/>
        <pc:sldMkLst>
          <pc:docMk/>
          <pc:sldMk cId="2264017310" sldId="2134806084"/>
        </pc:sldMkLst>
        <pc:spChg chg="mod">
          <ac:chgData name="Emma Morris" userId="70c6f1a6-3d9c-40dc-abd7-ac4fa70f9b1e" providerId="ADAL" clId="{415169F6-4C49-4342-A2A8-BA76B313B924}" dt="2025-06-05T13:06:17.136" v="283" actId="2085"/>
          <ac:spMkLst>
            <pc:docMk/>
            <pc:sldMk cId="2264017310" sldId="2134806084"/>
            <ac:spMk id="2" creationId="{D754B059-B2ED-4A58-A646-DC0E7394658C}"/>
          </ac:spMkLst>
        </pc:spChg>
        <pc:spChg chg="mod">
          <ac:chgData name="Emma Morris" userId="70c6f1a6-3d9c-40dc-abd7-ac4fa70f9b1e" providerId="ADAL" clId="{415169F6-4C49-4342-A2A8-BA76B313B924}" dt="2025-06-05T13:07:24.011" v="307" actId="2085"/>
          <ac:spMkLst>
            <pc:docMk/>
            <pc:sldMk cId="2264017310" sldId="2134806084"/>
            <ac:spMk id="6" creationId="{AA655FF5-49B4-49AA-B33B-6C62BDA1ACB1}"/>
          </ac:spMkLst>
        </pc:spChg>
        <pc:spChg chg="mod">
          <ac:chgData name="Emma Morris" userId="70c6f1a6-3d9c-40dc-abd7-ac4fa70f9b1e" providerId="ADAL" clId="{415169F6-4C49-4342-A2A8-BA76B313B924}" dt="2025-06-05T13:07:35.970" v="311" actId="2085"/>
          <ac:spMkLst>
            <pc:docMk/>
            <pc:sldMk cId="2264017310" sldId="2134806084"/>
            <ac:spMk id="7" creationId="{BBF068AF-600C-4DD9-88AE-E3F712CCEC68}"/>
          </ac:spMkLst>
        </pc:spChg>
        <pc:spChg chg="add mod">
          <ac:chgData name="Emma Morris" userId="70c6f1a6-3d9c-40dc-abd7-ac4fa70f9b1e" providerId="ADAL" clId="{415169F6-4C49-4342-A2A8-BA76B313B924}" dt="2025-06-04T13:55:07.002" v="52"/>
          <ac:spMkLst>
            <pc:docMk/>
            <pc:sldMk cId="2264017310" sldId="2134806084"/>
            <ac:spMk id="14" creationId="{FE62A947-F0CD-A4EB-7AF3-D783599B45BF}"/>
          </ac:spMkLst>
        </pc:spChg>
        <pc:spChg chg="mod">
          <ac:chgData name="Emma Morris" userId="70c6f1a6-3d9c-40dc-abd7-ac4fa70f9b1e" providerId="ADAL" clId="{415169F6-4C49-4342-A2A8-BA76B313B924}" dt="2025-06-04T13:54:14.956" v="35" actId="1076"/>
          <ac:spMkLst>
            <pc:docMk/>
            <pc:sldMk cId="2264017310" sldId="2134806084"/>
            <ac:spMk id="18" creationId="{AE1ED037-CC57-4D95-B24E-59004D4CE232}"/>
          </ac:spMkLst>
        </pc:spChg>
        <pc:spChg chg="mod">
          <ac:chgData name="Emma Morris" userId="70c6f1a6-3d9c-40dc-abd7-ac4fa70f9b1e" providerId="ADAL" clId="{415169F6-4C49-4342-A2A8-BA76B313B924}" dt="2025-06-04T13:54:14.956" v="35" actId="1076"/>
          <ac:spMkLst>
            <pc:docMk/>
            <pc:sldMk cId="2264017310" sldId="2134806084"/>
            <ac:spMk id="19" creationId="{C6F8CEEF-DAB4-4236-B0F3-702BAAF33F7A}"/>
          </ac:spMkLst>
        </pc:spChg>
        <pc:picChg chg="add mod">
          <ac:chgData name="Emma Morris" userId="70c6f1a6-3d9c-40dc-abd7-ac4fa70f9b1e" providerId="ADAL" clId="{415169F6-4C49-4342-A2A8-BA76B313B924}" dt="2025-06-17T14:16:37.514" v="346"/>
          <ac:picMkLst>
            <pc:docMk/>
            <pc:sldMk cId="2264017310" sldId="2134806084"/>
            <ac:picMk id="4" creationId="{AE2531B4-A322-A063-D1F9-0AA7F409E397}"/>
          </ac:picMkLst>
        </pc:picChg>
        <pc:cxnChg chg="mod">
          <ac:chgData name="Emma Morris" userId="70c6f1a6-3d9c-40dc-abd7-ac4fa70f9b1e" providerId="ADAL" clId="{415169F6-4C49-4342-A2A8-BA76B313B924}" dt="2025-06-04T13:54:14.956" v="35" actId="1076"/>
          <ac:cxnSpMkLst>
            <pc:docMk/>
            <pc:sldMk cId="2264017310" sldId="2134806084"/>
            <ac:cxnSpMk id="5" creationId="{7799BBD5-DC77-4AF8-A713-33D3F7D48B39}"/>
          </ac:cxnSpMkLst>
        </pc:cxnChg>
        <pc:cxnChg chg="mod">
          <ac:chgData name="Emma Morris" userId="70c6f1a6-3d9c-40dc-abd7-ac4fa70f9b1e" providerId="ADAL" clId="{415169F6-4C49-4342-A2A8-BA76B313B924}" dt="2025-06-04T13:54:14.956" v="35" actId="1076"/>
          <ac:cxnSpMkLst>
            <pc:docMk/>
            <pc:sldMk cId="2264017310" sldId="2134806084"/>
            <ac:cxnSpMk id="11" creationId="{4EC7DE38-5BC8-4DCF-85C9-E21E826F068E}"/>
          </ac:cxnSpMkLst>
        </pc:cxnChg>
        <pc:cxnChg chg="mod">
          <ac:chgData name="Emma Morris" userId="70c6f1a6-3d9c-40dc-abd7-ac4fa70f9b1e" providerId="ADAL" clId="{415169F6-4C49-4342-A2A8-BA76B313B924}" dt="2025-06-04T13:54:14.956" v="35" actId="1076"/>
          <ac:cxnSpMkLst>
            <pc:docMk/>
            <pc:sldMk cId="2264017310" sldId="2134806084"/>
            <ac:cxnSpMk id="16" creationId="{4285CBA6-0E4F-44D7-B0AC-ACA58281E559}"/>
          </ac:cxnSpMkLst>
        </pc:cxnChg>
      </pc:sldChg>
      <pc:sldChg chg="addSp delSp modSp mod modAnim">
        <pc:chgData name="Emma Morris" userId="70c6f1a6-3d9c-40dc-abd7-ac4fa70f9b1e" providerId="ADAL" clId="{415169F6-4C49-4342-A2A8-BA76B313B924}" dt="2025-06-17T14:16:39.137" v="347"/>
        <pc:sldMkLst>
          <pc:docMk/>
          <pc:sldMk cId="2526680593" sldId="2134806085"/>
        </pc:sldMkLst>
        <pc:spChg chg="mod">
          <ac:chgData name="Emma Morris" userId="70c6f1a6-3d9c-40dc-abd7-ac4fa70f9b1e" providerId="ADAL" clId="{415169F6-4C49-4342-A2A8-BA76B313B924}" dt="2025-06-04T13:54:41.209" v="44" actId="404"/>
          <ac:spMkLst>
            <pc:docMk/>
            <pc:sldMk cId="2526680593" sldId="2134806085"/>
            <ac:spMk id="4" creationId="{16957056-9A32-4CDF-9CA4-182EDA277506}"/>
          </ac:spMkLst>
        </pc:spChg>
        <pc:spChg chg="mod">
          <ac:chgData name="Emma Morris" userId="70c6f1a6-3d9c-40dc-abd7-ac4fa70f9b1e" providerId="ADAL" clId="{415169F6-4C49-4342-A2A8-BA76B313B924}" dt="2025-06-04T13:54:41.209" v="44" actId="404"/>
          <ac:spMkLst>
            <pc:docMk/>
            <pc:sldMk cId="2526680593" sldId="2134806085"/>
            <ac:spMk id="13" creationId="{99DF0BF1-15EC-47EE-AB76-69F5D0033E23}"/>
          </ac:spMkLst>
        </pc:spChg>
        <pc:spChg chg="mod">
          <ac:chgData name="Emma Morris" userId="70c6f1a6-3d9c-40dc-abd7-ac4fa70f9b1e" providerId="ADAL" clId="{415169F6-4C49-4342-A2A8-BA76B313B924}" dt="2025-06-04T13:54:41.209" v="44" actId="404"/>
          <ac:spMkLst>
            <pc:docMk/>
            <pc:sldMk cId="2526680593" sldId="2134806085"/>
            <ac:spMk id="14" creationId="{038FEAD1-B307-42D8-AEAA-AD17CE815CA2}"/>
          </ac:spMkLst>
        </pc:spChg>
        <pc:spChg chg="add mod">
          <ac:chgData name="Emma Morris" userId="70c6f1a6-3d9c-40dc-abd7-ac4fa70f9b1e" providerId="ADAL" clId="{415169F6-4C49-4342-A2A8-BA76B313B924}" dt="2025-06-04T13:54:27.226" v="38"/>
          <ac:spMkLst>
            <pc:docMk/>
            <pc:sldMk cId="2526680593" sldId="2134806085"/>
            <ac:spMk id="17" creationId="{EE95793A-01E2-3250-8A60-672B5ECE99CA}"/>
          </ac:spMkLst>
        </pc:spChg>
        <pc:spChg chg="add mod">
          <ac:chgData name="Emma Morris" userId="70c6f1a6-3d9c-40dc-abd7-ac4fa70f9b1e" providerId="ADAL" clId="{415169F6-4C49-4342-A2A8-BA76B313B924}" dt="2025-06-04T13:54:27.226" v="38"/>
          <ac:spMkLst>
            <pc:docMk/>
            <pc:sldMk cId="2526680593" sldId="2134806085"/>
            <ac:spMk id="20" creationId="{FA6E4F81-F142-C91A-CD06-50115B958672}"/>
          </ac:spMkLst>
        </pc:spChg>
        <pc:spChg chg="add mod">
          <ac:chgData name="Emma Morris" userId="70c6f1a6-3d9c-40dc-abd7-ac4fa70f9b1e" providerId="ADAL" clId="{415169F6-4C49-4342-A2A8-BA76B313B924}" dt="2025-06-05T13:06:24.884" v="285" actId="2085"/>
          <ac:spMkLst>
            <pc:docMk/>
            <pc:sldMk cId="2526680593" sldId="2134806085"/>
            <ac:spMk id="21" creationId="{A930F416-5953-915C-8353-6FE6BCED7BFF}"/>
          </ac:spMkLst>
        </pc:spChg>
        <pc:spChg chg="add mod">
          <ac:chgData name="Emma Morris" userId="70c6f1a6-3d9c-40dc-abd7-ac4fa70f9b1e" providerId="ADAL" clId="{415169F6-4C49-4342-A2A8-BA76B313B924}" dt="2025-06-05T13:07:20.713" v="305" actId="2085"/>
          <ac:spMkLst>
            <pc:docMk/>
            <pc:sldMk cId="2526680593" sldId="2134806085"/>
            <ac:spMk id="22" creationId="{8CC21B68-F22F-FF7B-B983-5301D1120847}"/>
          </ac:spMkLst>
        </pc:spChg>
        <pc:spChg chg="add mod">
          <ac:chgData name="Emma Morris" userId="70c6f1a6-3d9c-40dc-abd7-ac4fa70f9b1e" providerId="ADAL" clId="{415169F6-4C49-4342-A2A8-BA76B313B924}" dt="2025-06-05T13:07:39.253" v="313" actId="2085"/>
          <ac:spMkLst>
            <pc:docMk/>
            <pc:sldMk cId="2526680593" sldId="2134806085"/>
            <ac:spMk id="23" creationId="{43113725-11A8-2D93-0FCD-BFF6ABF22FBB}"/>
          </ac:spMkLst>
        </pc:spChg>
        <pc:spChg chg="add mod">
          <ac:chgData name="Emma Morris" userId="70c6f1a6-3d9c-40dc-abd7-ac4fa70f9b1e" providerId="ADAL" clId="{415169F6-4C49-4342-A2A8-BA76B313B924}" dt="2025-06-04T13:57:27.037" v="93" actId="2711"/>
          <ac:spMkLst>
            <pc:docMk/>
            <pc:sldMk cId="2526680593" sldId="2134806085"/>
            <ac:spMk id="26" creationId="{13D0FA2A-764A-BFAE-A12C-4C119477DEF1}"/>
          </ac:spMkLst>
        </pc:spChg>
        <pc:picChg chg="add mod">
          <ac:chgData name="Emma Morris" userId="70c6f1a6-3d9c-40dc-abd7-ac4fa70f9b1e" providerId="ADAL" clId="{415169F6-4C49-4342-A2A8-BA76B313B924}" dt="2025-06-17T14:16:39.137" v="347"/>
          <ac:picMkLst>
            <pc:docMk/>
            <pc:sldMk cId="2526680593" sldId="2134806085"/>
            <ac:picMk id="2" creationId="{33C980E1-AC37-3161-2F05-B9E0E631CF90}"/>
          </ac:picMkLst>
        </pc:picChg>
        <pc:cxnChg chg="add mod">
          <ac:chgData name="Emma Morris" userId="70c6f1a6-3d9c-40dc-abd7-ac4fa70f9b1e" providerId="ADAL" clId="{415169F6-4C49-4342-A2A8-BA76B313B924}" dt="2025-06-04T13:54:27.226" v="38"/>
          <ac:cxnSpMkLst>
            <pc:docMk/>
            <pc:sldMk cId="2526680593" sldId="2134806085"/>
            <ac:cxnSpMk id="9" creationId="{FAA15192-C1AB-7A68-93CB-FDDBDC7B8F60}"/>
          </ac:cxnSpMkLst>
        </pc:cxnChg>
        <pc:cxnChg chg="add mod">
          <ac:chgData name="Emma Morris" userId="70c6f1a6-3d9c-40dc-abd7-ac4fa70f9b1e" providerId="ADAL" clId="{415169F6-4C49-4342-A2A8-BA76B313B924}" dt="2025-06-04T13:54:27.226" v="38"/>
          <ac:cxnSpMkLst>
            <pc:docMk/>
            <pc:sldMk cId="2526680593" sldId="2134806085"/>
            <ac:cxnSpMk id="12" creationId="{49288D3D-AD86-043E-ED64-34A3DB5698F1}"/>
          </ac:cxnSpMkLst>
        </pc:cxnChg>
        <pc:cxnChg chg="add mod">
          <ac:chgData name="Emma Morris" userId="70c6f1a6-3d9c-40dc-abd7-ac4fa70f9b1e" providerId="ADAL" clId="{415169F6-4C49-4342-A2A8-BA76B313B924}" dt="2025-06-04T13:54:27.226" v="38"/>
          <ac:cxnSpMkLst>
            <pc:docMk/>
            <pc:sldMk cId="2526680593" sldId="2134806085"/>
            <ac:cxnSpMk id="15" creationId="{DF5F6C49-14B7-338D-4209-F489EED3463B}"/>
          </ac:cxnSpMkLst>
        </pc:cxnChg>
      </pc:sldChg>
      <pc:sldChg chg="addSp delSp modSp mod chgLayout">
        <pc:chgData name="Emma Morris" userId="70c6f1a6-3d9c-40dc-abd7-ac4fa70f9b1e" providerId="ADAL" clId="{415169F6-4C49-4342-A2A8-BA76B313B924}" dt="2025-06-17T14:16:39.818" v="348"/>
        <pc:sldMkLst>
          <pc:docMk/>
          <pc:sldMk cId="2451152266" sldId="2134806086"/>
        </pc:sldMkLst>
        <pc:spChg chg="add mod">
          <ac:chgData name="Emma Morris" userId="70c6f1a6-3d9c-40dc-abd7-ac4fa70f9b1e" providerId="ADAL" clId="{415169F6-4C49-4342-A2A8-BA76B313B924}" dt="2025-06-05T13:05:42.340" v="276" actId="1582"/>
          <ac:spMkLst>
            <pc:docMk/>
            <pc:sldMk cId="2451152266" sldId="2134806086"/>
            <ac:spMk id="2" creationId="{948B6CB0-1329-0185-C5C3-BC52FFEC89EE}"/>
          </ac:spMkLst>
        </pc:spChg>
        <pc:spChg chg="mod ord">
          <ac:chgData name="Emma Morris" userId="70c6f1a6-3d9c-40dc-abd7-ac4fa70f9b1e" providerId="ADAL" clId="{415169F6-4C49-4342-A2A8-BA76B313B924}" dt="2025-06-04T13:55:37.396" v="60" actId="6264"/>
          <ac:spMkLst>
            <pc:docMk/>
            <pc:sldMk cId="2451152266" sldId="2134806086"/>
            <ac:spMk id="3" creationId="{09C249CD-EC57-4C36-802C-A15E67248988}"/>
          </ac:spMkLst>
        </pc:spChg>
        <pc:spChg chg="add mod">
          <ac:chgData name="Emma Morris" userId="70c6f1a6-3d9c-40dc-abd7-ac4fa70f9b1e" providerId="ADAL" clId="{415169F6-4C49-4342-A2A8-BA76B313B924}" dt="2025-06-05T13:04:53.738" v="260" actId="113"/>
          <ac:spMkLst>
            <pc:docMk/>
            <pc:sldMk cId="2451152266" sldId="2134806086"/>
            <ac:spMk id="4" creationId="{2E7B875C-DA01-B1B0-024E-D0B7A96D1050}"/>
          </ac:spMkLst>
        </pc:spChg>
        <pc:spChg chg="add mod ord">
          <ac:chgData name="Emma Morris" userId="70c6f1a6-3d9c-40dc-abd7-ac4fa70f9b1e" providerId="ADAL" clId="{415169F6-4C49-4342-A2A8-BA76B313B924}" dt="2025-06-04T13:56:00.361" v="66" actId="14100"/>
          <ac:spMkLst>
            <pc:docMk/>
            <pc:sldMk cId="2451152266" sldId="2134806086"/>
            <ac:spMk id="5" creationId="{8C3E683F-94E0-B462-AA46-46F7AED51DEB}"/>
          </ac:spMkLst>
        </pc:spChg>
        <pc:spChg chg="add mod">
          <ac:chgData name="Emma Morris" userId="70c6f1a6-3d9c-40dc-abd7-ac4fa70f9b1e" providerId="ADAL" clId="{415169F6-4C49-4342-A2A8-BA76B313B924}" dt="2025-06-05T13:05:00.027" v="262" actId="20577"/>
          <ac:spMkLst>
            <pc:docMk/>
            <pc:sldMk cId="2451152266" sldId="2134806086"/>
            <ac:spMk id="7" creationId="{19268577-45F0-80D4-42F9-DE1AD05FB3AD}"/>
          </ac:spMkLst>
        </pc:spChg>
        <pc:spChg chg="add mod">
          <ac:chgData name="Emma Morris" userId="70c6f1a6-3d9c-40dc-abd7-ac4fa70f9b1e" providerId="ADAL" clId="{415169F6-4C49-4342-A2A8-BA76B313B924}" dt="2025-06-05T13:05:30.184" v="273" actId="207"/>
          <ac:spMkLst>
            <pc:docMk/>
            <pc:sldMk cId="2451152266" sldId="2134806086"/>
            <ac:spMk id="8" creationId="{B266CC09-BA27-8B69-D421-43E1AC15DF9F}"/>
          </ac:spMkLst>
        </pc:spChg>
        <pc:spChg chg="add mod">
          <ac:chgData name="Emma Morris" userId="70c6f1a6-3d9c-40dc-abd7-ac4fa70f9b1e" providerId="ADAL" clId="{415169F6-4C49-4342-A2A8-BA76B313B924}" dt="2025-06-05T13:05:30.184" v="273" actId="207"/>
          <ac:spMkLst>
            <pc:docMk/>
            <pc:sldMk cId="2451152266" sldId="2134806086"/>
            <ac:spMk id="9" creationId="{84D2D9A8-5BDC-CB13-5C03-85FB2706C73B}"/>
          </ac:spMkLst>
        </pc:spChg>
        <pc:spChg chg="add mod">
          <ac:chgData name="Emma Morris" userId="70c6f1a6-3d9c-40dc-abd7-ac4fa70f9b1e" providerId="ADAL" clId="{415169F6-4C49-4342-A2A8-BA76B313B924}" dt="2025-06-05T13:05:24.086" v="272" actId="207"/>
          <ac:spMkLst>
            <pc:docMk/>
            <pc:sldMk cId="2451152266" sldId="2134806086"/>
            <ac:spMk id="10" creationId="{2CC8D77B-9BDF-317A-8633-7C5CB8BB538B}"/>
          </ac:spMkLst>
        </pc:spChg>
        <pc:spChg chg="add mod">
          <ac:chgData name="Emma Morris" userId="70c6f1a6-3d9c-40dc-abd7-ac4fa70f9b1e" providerId="ADAL" clId="{415169F6-4C49-4342-A2A8-BA76B313B924}" dt="2025-06-05T13:05:24.086" v="272" actId="207"/>
          <ac:spMkLst>
            <pc:docMk/>
            <pc:sldMk cId="2451152266" sldId="2134806086"/>
            <ac:spMk id="11" creationId="{DFC4D685-3C7E-4974-7744-5AA4BEB1A5C7}"/>
          </ac:spMkLst>
        </pc:spChg>
        <pc:picChg chg="add mod">
          <ac:chgData name="Emma Morris" userId="70c6f1a6-3d9c-40dc-abd7-ac4fa70f9b1e" providerId="ADAL" clId="{415169F6-4C49-4342-A2A8-BA76B313B924}" dt="2025-06-17T14:16:39.818" v="348"/>
          <ac:picMkLst>
            <pc:docMk/>
            <pc:sldMk cId="2451152266" sldId="2134806086"/>
            <ac:picMk id="6" creationId="{8DE1FD92-2ACA-DB05-D22A-3719BA094E91}"/>
          </ac:picMkLst>
        </pc:picChg>
      </pc:sldChg>
      <pc:sldChg chg="addSp delSp modSp mod delAnim modAnim">
        <pc:chgData name="Emma Morris" userId="70c6f1a6-3d9c-40dc-abd7-ac4fa70f9b1e" providerId="ADAL" clId="{415169F6-4C49-4342-A2A8-BA76B313B924}" dt="2025-06-17T14:16:41.091" v="349"/>
        <pc:sldMkLst>
          <pc:docMk/>
          <pc:sldMk cId="2375965253" sldId="2134806087"/>
        </pc:sldMkLst>
        <pc:spChg chg="mod">
          <ac:chgData name="Emma Morris" userId="70c6f1a6-3d9c-40dc-abd7-ac4fa70f9b1e" providerId="ADAL" clId="{415169F6-4C49-4342-A2A8-BA76B313B924}" dt="2025-06-04T13:57:16.116" v="91" actId="115"/>
          <ac:spMkLst>
            <pc:docMk/>
            <pc:sldMk cId="2375965253" sldId="2134806087"/>
            <ac:spMk id="3" creationId="{C5690CC2-D037-4DDF-B1A0-4DF23A5579EA}"/>
          </ac:spMkLst>
        </pc:spChg>
        <pc:spChg chg="mod">
          <ac:chgData name="Emma Morris" userId="70c6f1a6-3d9c-40dc-abd7-ac4fa70f9b1e" providerId="ADAL" clId="{415169F6-4C49-4342-A2A8-BA76B313B924}" dt="2025-06-04T13:56:41.813" v="79" actId="1076"/>
          <ac:spMkLst>
            <pc:docMk/>
            <pc:sldMk cId="2375965253" sldId="2134806087"/>
            <ac:spMk id="9" creationId="{CD4C9692-4A34-4C43-BC85-D2B7C307AE62}"/>
          </ac:spMkLst>
        </pc:spChg>
        <pc:spChg chg="add mod">
          <ac:chgData name="Emma Morris" userId="70c6f1a6-3d9c-40dc-abd7-ac4fa70f9b1e" providerId="ADAL" clId="{415169F6-4C49-4342-A2A8-BA76B313B924}" dt="2025-06-04T13:56:18.293" v="73"/>
          <ac:spMkLst>
            <pc:docMk/>
            <pc:sldMk cId="2375965253" sldId="2134806087"/>
            <ac:spMk id="12" creationId="{11B70093-6235-3D0C-295D-768B62689076}"/>
          </ac:spMkLst>
        </pc:spChg>
        <pc:spChg chg="add mod">
          <ac:chgData name="Emma Morris" userId="70c6f1a6-3d9c-40dc-abd7-ac4fa70f9b1e" providerId="ADAL" clId="{415169F6-4C49-4342-A2A8-BA76B313B924}" dt="2025-06-04T13:56:18.293" v="73"/>
          <ac:spMkLst>
            <pc:docMk/>
            <pc:sldMk cId="2375965253" sldId="2134806087"/>
            <ac:spMk id="15" creationId="{CED5BF76-525F-76D0-C948-03FE0461F86E}"/>
          </ac:spMkLst>
        </pc:spChg>
        <pc:spChg chg="mod">
          <ac:chgData name="Emma Morris" userId="70c6f1a6-3d9c-40dc-abd7-ac4fa70f9b1e" providerId="ADAL" clId="{415169F6-4C49-4342-A2A8-BA76B313B924}" dt="2025-06-04T13:56:45.680" v="80" actId="1076"/>
          <ac:spMkLst>
            <pc:docMk/>
            <pc:sldMk cId="2375965253" sldId="2134806087"/>
            <ac:spMk id="17" creationId="{2C6165C4-5018-4BE4-86F4-624AC3F4FE9C}"/>
          </ac:spMkLst>
        </pc:spChg>
        <pc:spChg chg="mod">
          <ac:chgData name="Emma Morris" userId="70c6f1a6-3d9c-40dc-abd7-ac4fa70f9b1e" providerId="ADAL" clId="{415169F6-4C49-4342-A2A8-BA76B313B924}" dt="2025-06-04T13:56:48.863" v="81" actId="1076"/>
          <ac:spMkLst>
            <pc:docMk/>
            <pc:sldMk cId="2375965253" sldId="2134806087"/>
            <ac:spMk id="20" creationId="{615A55D3-887F-4514-ACB5-119EBBC02977}"/>
          </ac:spMkLst>
        </pc:spChg>
        <pc:spChg chg="add mod">
          <ac:chgData name="Emma Morris" userId="70c6f1a6-3d9c-40dc-abd7-ac4fa70f9b1e" providerId="ADAL" clId="{415169F6-4C49-4342-A2A8-BA76B313B924}" dt="2025-06-04T13:56:18.293" v="73"/>
          <ac:spMkLst>
            <pc:docMk/>
            <pc:sldMk cId="2375965253" sldId="2134806087"/>
            <ac:spMk id="22" creationId="{F0811907-3A82-3C21-0A97-E9EBBA8F5B3B}"/>
          </ac:spMkLst>
        </pc:spChg>
        <pc:spChg chg="add mod">
          <ac:chgData name="Emma Morris" userId="70c6f1a6-3d9c-40dc-abd7-ac4fa70f9b1e" providerId="ADAL" clId="{415169F6-4C49-4342-A2A8-BA76B313B924}" dt="2025-06-04T13:56:18.293" v="73"/>
          <ac:spMkLst>
            <pc:docMk/>
            <pc:sldMk cId="2375965253" sldId="2134806087"/>
            <ac:spMk id="26" creationId="{19601579-D320-5CB3-D372-7333A31F415A}"/>
          </ac:spMkLst>
        </pc:spChg>
        <pc:spChg chg="add mod">
          <ac:chgData name="Emma Morris" userId="70c6f1a6-3d9c-40dc-abd7-ac4fa70f9b1e" providerId="ADAL" clId="{415169F6-4C49-4342-A2A8-BA76B313B924}" dt="2025-06-04T13:56:18.293" v="73"/>
          <ac:spMkLst>
            <pc:docMk/>
            <pc:sldMk cId="2375965253" sldId="2134806087"/>
            <ac:spMk id="27" creationId="{F89928EC-5BD8-765B-3B07-95709DB5FF1E}"/>
          </ac:spMkLst>
        </pc:spChg>
        <pc:spChg chg="add mod">
          <ac:chgData name="Emma Morris" userId="70c6f1a6-3d9c-40dc-abd7-ac4fa70f9b1e" providerId="ADAL" clId="{415169F6-4C49-4342-A2A8-BA76B313B924}" dt="2025-06-05T13:06:30.912" v="286" actId="207"/>
          <ac:spMkLst>
            <pc:docMk/>
            <pc:sldMk cId="2375965253" sldId="2134806087"/>
            <ac:spMk id="28" creationId="{923B5C8A-3058-365C-2E0F-7F36592BAFDB}"/>
          </ac:spMkLst>
        </pc:spChg>
        <pc:spChg chg="add mod">
          <ac:chgData name="Emma Morris" userId="70c6f1a6-3d9c-40dc-abd7-ac4fa70f9b1e" providerId="ADAL" clId="{415169F6-4C49-4342-A2A8-BA76B313B924}" dt="2025-06-05T13:07:13.687" v="303" actId="2085"/>
          <ac:spMkLst>
            <pc:docMk/>
            <pc:sldMk cId="2375965253" sldId="2134806087"/>
            <ac:spMk id="29" creationId="{16F96BEE-952B-9D33-5372-929D7892AF2B}"/>
          </ac:spMkLst>
        </pc:spChg>
        <pc:spChg chg="add mod">
          <ac:chgData name="Emma Morris" userId="70c6f1a6-3d9c-40dc-abd7-ac4fa70f9b1e" providerId="ADAL" clId="{415169F6-4C49-4342-A2A8-BA76B313B924}" dt="2025-06-05T13:07:45.089" v="314" actId="207"/>
          <ac:spMkLst>
            <pc:docMk/>
            <pc:sldMk cId="2375965253" sldId="2134806087"/>
            <ac:spMk id="30" creationId="{DF64A21A-DCC7-FC9F-46A6-B7E8A07C65C5}"/>
          </ac:spMkLst>
        </pc:spChg>
        <pc:spChg chg="add mod">
          <ac:chgData name="Emma Morris" userId="70c6f1a6-3d9c-40dc-abd7-ac4fa70f9b1e" providerId="ADAL" clId="{415169F6-4C49-4342-A2A8-BA76B313B924}" dt="2025-06-04T13:57:21.017" v="92" actId="2711"/>
          <ac:spMkLst>
            <pc:docMk/>
            <pc:sldMk cId="2375965253" sldId="2134806087"/>
            <ac:spMk id="31" creationId="{7A39364D-98E3-B36A-5D46-9EE5EFEC8924}"/>
          </ac:spMkLst>
        </pc:spChg>
        <pc:picChg chg="add mod">
          <ac:chgData name="Emma Morris" userId="70c6f1a6-3d9c-40dc-abd7-ac4fa70f9b1e" providerId="ADAL" clId="{415169F6-4C49-4342-A2A8-BA76B313B924}" dt="2025-06-17T14:16:41.091" v="349"/>
          <ac:picMkLst>
            <pc:docMk/>
            <pc:sldMk cId="2375965253" sldId="2134806087"/>
            <ac:picMk id="2" creationId="{342FD605-438D-CE93-F0B8-D0BE480B70C7}"/>
          </ac:picMkLst>
        </pc:picChg>
        <pc:cxnChg chg="add mod">
          <ac:chgData name="Emma Morris" userId="70c6f1a6-3d9c-40dc-abd7-ac4fa70f9b1e" providerId="ADAL" clId="{415169F6-4C49-4342-A2A8-BA76B313B924}" dt="2025-06-04T13:56:18.293" v="73"/>
          <ac:cxnSpMkLst>
            <pc:docMk/>
            <pc:sldMk cId="2375965253" sldId="2134806087"/>
            <ac:cxnSpMk id="23" creationId="{12AAE739-7C7E-1427-17EB-2FB84A79125B}"/>
          </ac:cxnSpMkLst>
        </pc:cxnChg>
        <pc:cxnChg chg="add mod">
          <ac:chgData name="Emma Morris" userId="70c6f1a6-3d9c-40dc-abd7-ac4fa70f9b1e" providerId="ADAL" clId="{415169F6-4C49-4342-A2A8-BA76B313B924}" dt="2025-06-04T13:56:18.293" v="73"/>
          <ac:cxnSpMkLst>
            <pc:docMk/>
            <pc:sldMk cId="2375965253" sldId="2134806087"/>
            <ac:cxnSpMk id="25" creationId="{3BEBD488-9EC5-4049-F2CC-F8491C36B8FA}"/>
          </ac:cxnSpMkLst>
        </pc:cxnChg>
      </pc:sldChg>
      <pc:sldChg chg="addSp delSp modSp mod modAnim">
        <pc:chgData name="Emma Morris" userId="70c6f1a6-3d9c-40dc-abd7-ac4fa70f9b1e" providerId="ADAL" clId="{415169F6-4C49-4342-A2A8-BA76B313B924}" dt="2025-06-17T14:16:41.921" v="350"/>
        <pc:sldMkLst>
          <pc:docMk/>
          <pc:sldMk cId="1779726891" sldId="2134806088"/>
        </pc:sldMkLst>
        <pc:spChg chg="mod">
          <ac:chgData name="Emma Morris" userId="70c6f1a6-3d9c-40dc-abd7-ac4fa70f9b1e" providerId="ADAL" clId="{415169F6-4C49-4342-A2A8-BA76B313B924}" dt="2025-06-04T13:57:12.916" v="90" actId="115"/>
          <ac:spMkLst>
            <pc:docMk/>
            <pc:sldMk cId="1779726891" sldId="2134806088"/>
            <ac:spMk id="3" creationId="{C5690CC2-D037-4DDF-B1A0-4DF23A5579EA}"/>
          </ac:spMkLst>
        </pc:spChg>
        <pc:spChg chg="add mod">
          <ac:chgData name="Emma Morris" userId="70c6f1a6-3d9c-40dc-abd7-ac4fa70f9b1e" providerId="ADAL" clId="{415169F6-4C49-4342-A2A8-BA76B313B924}" dt="2025-06-04T14:06:49.116" v="234" actId="122"/>
          <ac:spMkLst>
            <pc:docMk/>
            <pc:sldMk cId="1779726891" sldId="2134806088"/>
            <ac:spMk id="12" creationId="{C7C278A3-7F2C-BC6A-1F7E-547DDC1FC270}"/>
          </ac:spMkLst>
        </pc:spChg>
        <pc:spChg chg="add mod">
          <ac:chgData name="Emma Morris" userId="70c6f1a6-3d9c-40dc-abd7-ac4fa70f9b1e" providerId="ADAL" clId="{415169F6-4C49-4342-A2A8-BA76B313B924}" dt="2025-06-04T14:00:00.382" v="119"/>
          <ac:spMkLst>
            <pc:docMk/>
            <pc:sldMk cId="1779726891" sldId="2134806088"/>
            <ac:spMk id="23" creationId="{B0A8ECBD-C627-BE53-D226-1950BA312CF7}"/>
          </ac:spMkLst>
        </pc:spChg>
        <pc:spChg chg="add mod">
          <ac:chgData name="Emma Morris" userId="70c6f1a6-3d9c-40dc-abd7-ac4fa70f9b1e" providerId="ADAL" clId="{415169F6-4C49-4342-A2A8-BA76B313B924}" dt="2025-06-04T14:00:00.382" v="119"/>
          <ac:spMkLst>
            <pc:docMk/>
            <pc:sldMk cId="1779726891" sldId="2134806088"/>
            <ac:spMk id="24" creationId="{A277A10C-7EC6-9390-F197-04FEF3D4101A}"/>
          </ac:spMkLst>
        </pc:spChg>
        <pc:spChg chg="add mod">
          <ac:chgData name="Emma Morris" userId="70c6f1a6-3d9c-40dc-abd7-ac4fa70f9b1e" providerId="ADAL" clId="{415169F6-4C49-4342-A2A8-BA76B313B924}" dt="2025-06-04T14:00:00.382" v="119"/>
          <ac:spMkLst>
            <pc:docMk/>
            <pc:sldMk cId="1779726891" sldId="2134806088"/>
            <ac:spMk id="25" creationId="{41246793-B06F-DE93-9F7D-6DDE86BFC324}"/>
          </ac:spMkLst>
        </pc:spChg>
        <pc:spChg chg="add mod">
          <ac:chgData name="Emma Morris" userId="70c6f1a6-3d9c-40dc-abd7-ac4fa70f9b1e" providerId="ADAL" clId="{415169F6-4C49-4342-A2A8-BA76B313B924}" dt="2025-06-04T14:00:00.382" v="119"/>
          <ac:spMkLst>
            <pc:docMk/>
            <pc:sldMk cId="1779726891" sldId="2134806088"/>
            <ac:spMk id="27" creationId="{DA44C4E6-24F5-39B6-1582-2EC00DC953F6}"/>
          </ac:spMkLst>
        </pc:spChg>
        <pc:spChg chg="add mod">
          <ac:chgData name="Emma Morris" userId="70c6f1a6-3d9c-40dc-abd7-ac4fa70f9b1e" providerId="ADAL" clId="{415169F6-4C49-4342-A2A8-BA76B313B924}" dt="2025-06-04T14:00:00.382" v="119"/>
          <ac:spMkLst>
            <pc:docMk/>
            <pc:sldMk cId="1779726891" sldId="2134806088"/>
            <ac:spMk id="28" creationId="{77FDBBE1-7125-8F86-CFDA-2F6E5CD8C8AD}"/>
          </ac:spMkLst>
        </pc:spChg>
        <pc:spChg chg="add mod">
          <ac:chgData name="Emma Morris" userId="70c6f1a6-3d9c-40dc-abd7-ac4fa70f9b1e" providerId="ADAL" clId="{415169F6-4C49-4342-A2A8-BA76B313B924}" dt="2025-06-04T14:00:00.382" v="119"/>
          <ac:spMkLst>
            <pc:docMk/>
            <pc:sldMk cId="1779726891" sldId="2134806088"/>
            <ac:spMk id="32" creationId="{E93AC23D-5A62-3995-D145-0E42EBDD647B}"/>
          </ac:spMkLst>
        </pc:spChg>
        <pc:spChg chg="add mod">
          <ac:chgData name="Emma Morris" userId="70c6f1a6-3d9c-40dc-abd7-ac4fa70f9b1e" providerId="ADAL" clId="{415169F6-4C49-4342-A2A8-BA76B313B924}" dt="2025-06-04T14:00:00.382" v="119"/>
          <ac:spMkLst>
            <pc:docMk/>
            <pc:sldMk cId="1779726891" sldId="2134806088"/>
            <ac:spMk id="33" creationId="{AC73800B-61B8-D33A-8332-2EADC35F3C7D}"/>
          </ac:spMkLst>
        </pc:spChg>
        <pc:spChg chg="add mod">
          <ac:chgData name="Emma Morris" userId="70c6f1a6-3d9c-40dc-abd7-ac4fa70f9b1e" providerId="ADAL" clId="{415169F6-4C49-4342-A2A8-BA76B313B924}" dt="2025-06-05T13:06:35.267" v="288" actId="2085"/>
          <ac:spMkLst>
            <pc:docMk/>
            <pc:sldMk cId="1779726891" sldId="2134806088"/>
            <ac:spMk id="34" creationId="{C33496E3-20CC-6833-3FA8-A75DED226812}"/>
          </ac:spMkLst>
        </pc:spChg>
        <pc:spChg chg="add mod">
          <ac:chgData name="Emma Morris" userId="70c6f1a6-3d9c-40dc-abd7-ac4fa70f9b1e" providerId="ADAL" clId="{415169F6-4C49-4342-A2A8-BA76B313B924}" dt="2025-06-05T13:07:10.054" v="301" actId="2085"/>
          <ac:spMkLst>
            <pc:docMk/>
            <pc:sldMk cId="1779726891" sldId="2134806088"/>
            <ac:spMk id="35" creationId="{6D1D8149-B280-BE5D-0E74-FEEA0ACB2832}"/>
          </ac:spMkLst>
        </pc:spChg>
        <pc:spChg chg="add mod">
          <ac:chgData name="Emma Morris" userId="70c6f1a6-3d9c-40dc-abd7-ac4fa70f9b1e" providerId="ADAL" clId="{415169F6-4C49-4342-A2A8-BA76B313B924}" dt="2025-06-05T13:07:49.415" v="316" actId="2085"/>
          <ac:spMkLst>
            <pc:docMk/>
            <pc:sldMk cId="1779726891" sldId="2134806088"/>
            <ac:spMk id="36" creationId="{28030991-5ABD-4895-405D-3FEAE242D980}"/>
          </ac:spMkLst>
        </pc:spChg>
        <pc:spChg chg="add mod">
          <ac:chgData name="Emma Morris" userId="70c6f1a6-3d9c-40dc-abd7-ac4fa70f9b1e" providerId="ADAL" clId="{415169F6-4C49-4342-A2A8-BA76B313B924}" dt="2025-06-04T14:00:24.644" v="129" actId="20577"/>
          <ac:spMkLst>
            <pc:docMk/>
            <pc:sldMk cId="1779726891" sldId="2134806088"/>
            <ac:spMk id="37" creationId="{55A16D39-BFF3-4D4B-4E93-E1B36B43A5AA}"/>
          </ac:spMkLst>
        </pc:spChg>
        <pc:picChg chg="add mod">
          <ac:chgData name="Emma Morris" userId="70c6f1a6-3d9c-40dc-abd7-ac4fa70f9b1e" providerId="ADAL" clId="{415169F6-4C49-4342-A2A8-BA76B313B924}" dt="2025-06-17T14:16:41.921" v="350"/>
          <ac:picMkLst>
            <pc:docMk/>
            <pc:sldMk cId="1779726891" sldId="2134806088"/>
            <ac:picMk id="2" creationId="{32F54FD5-083D-ED85-8277-0D2E08F8AA01}"/>
          </ac:picMkLst>
        </pc:picChg>
      </pc:sldChg>
      <pc:sldChg chg="addSp delSp modSp mod addAnim delAnim modAnim">
        <pc:chgData name="Emma Morris" userId="70c6f1a6-3d9c-40dc-abd7-ac4fa70f9b1e" providerId="ADAL" clId="{415169F6-4C49-4342-A2A8-BA76B313B924}" dt="2025-06-17T14:16:43.341" v="351"/>
        <pc:sldMkLst>
          <pc:docMk/>
          <pc:sldMk cId="1035555286" sldId="2134806091"/>
        </pc:sldMkLst>
        <pc:spChg chg="mod">
          <ac:chgData name="Emma Morris" userId="70c6f1a6-3d9c-40dc-abd7-ac4fa70f9b1e" providerId="ADAL" clId="{415169F6-4C49-4342-A2A8-BA76B313B924}" dt="2025-06-04T13:59:34.057" v="116" actId="115"/>
          <ac:spMkLst>
            <pc:docMk/>
            <pc:sldMk cId="1035555286" sldId="2134806091"/>
            <ac:spMk id="3" creationId="{C5690CC2-D037-4DDF-B1A0-4DF23A5579EA}"/>
          </ac:spMkLst>
        </pc:spChg>
        <pc:spChg chg="mod">
          <ac:chgData name="Emma Morris" userId="70c6f1a6-3d9c-40dc-abd7-ac4fa70f9b1e" providerId="ADAL" clId="{415169F6-4C49-4342-A2A8-BA76B313B924}" dt="2025-06-04T14:03:33.731" v="190" actId="20577"/>
          <ac:spMkLst>
            <pc:docMk/>
            <pc:sldMk cId="1035555286" sldId="2134806091"/>
            <ac:spMk id="20" creationId="{83524E61-555A-42E3-B417-79D1B0CCAECC}"/>
          </ac:spMkLst>
        </pc:spChg>
        <pc:spChg chg="mod topLvl">
          <ac:chgData name="Emma Morris" userId="70c6f1a6-3d9c-40dc-abd7-ac4fa70f9b1e" providerId="ADAL" clId="{415169F6-4C49-4342-A2A8-BA76B313B924}" dt="2025-06-05T13:06:43.798" v="291" actId="2085"/>
          <ac:spMkLst>
            <pc:docMk/>
            <pc:sldMk cId="1035555286" sldId="2134806091"/>
            <ac:spMk id="21" creationId="{D481A87D-BAF2-4C3B-8D0C-B2442ADA0459}"/>
          </ac:spMkLst>
        </pc:spChg>
        <pc:spChg chg="mod topLvl">
          <ac:chgData name="Emma Morris" userId="70c6f1a6-3d9c-40dc-abd7-ac4fa70f9b1e" providerId="ADAL" clId="{415169F6-4C49-4342-A2A8-BA76B313B924}" dt="2025-06-05T13:07:04.485" v="299" actId="2085"/>
          <ac:spMkLst>
            <pc:docMk/>
            <pc:sldMk cId="1035555286" sldId="2134806091"/>
            <ac:spMk id="22" creationId="{79BE08A3-7535-4AD6-89EE-6FD2DC150134}"/>
          </ac:spMkLst>
        </pc:spChg>
        <pc:spChg chg="mod topLvl">
          <ac:chgData name="Emma Morris" userId="70c6f1a6-3d9c-40dc-abd7-ac4fa70f9b1e" providerId="ADAL" clId="{415169F6-4C49-4342-A2A8-BA76B313B924}" dt="2025-06-05T13:07:56.872" v="320" actId="2085"/>
          <ac:spMkLst>
            <pc:docMk/>
            <pc:sldMk cId="1035555286" sldId="2134806091"/>
            <ac:spMk id="23" creationId="{2C6F2B70-F992-4E05-AE9D-553CB9396D30}"/>
          </ac:spMkLst>
        </pc:spChg>
        <pc:spChg chg="mod">
          <ac:chgData name="Emma Morris" userId="70c6f1a6-3d9c-40dc-abd7-ac4fa70f9b1e" providerId="ADAL" clId="{415169F6-4C49-4342-A2A8-BA76B313B924}" dt="2025-06-04T14:05:49.734" v="223" actId="2711"/>
          <ac:spMkLst>
            <pc:docMk/>
            <pc:sldMk cId="1035555286" sldId="2134806091"/>
            <ac:spMk id="36" creationId="{66347B95-A3EC-4BD1-A72A-5EAF58743D03}"/>
          </ac:spMkLst>
        </pc:spChg>
        <pc:spChg chg="mod topLvl">
          <ac:chgData name="Emma Morris" userId="70c6f1a6-3d9c-40dc-abd7-ac4fa70f9b1e" providerId="ADAL" clId="{415169F6-4C49-4342-A2A8-BA76B313B924}" dt="2025-06-04T14:05:08.962" v="212" actId="1076"/>
          <ac:spMkLst>
            <pc:docMk/>
            <pc:sldMk cId="1035555286" sldId="2134806091"/>
            <ac:spMk id="37" creationId="{656980C7-43D2-47A5-BBF0-7AA6048A4962}"/>
          </ac:spMkLst>
        </pc:spChg>
        <pc:spChg chg="mod topLvl">
          <ac:chgData name="Emma Morris" userId="70c6f1a6-3d9c-40dc-abd7-ac4fa70f9b1e" providerId="ADAL" clId="{415169F6-4C49-4342-A2A8-BA76B313B924}" dt="2025-06-04T14:05:06.696" v="211" actId="1076"/>
          <ac:spMkLst>
            <pc:docMk/>
            <pc:sldMk cId="1035555286" sldId="2134806091"/>
            <ac:spMk id="38" creationId="{B34782AA-BA28-4A97-98D0-35B7E57D2BB5}"/>
          </ac:spMkLst>
        </pc:spChg>
        <pc:spChg chg="mod topLvl">
          <ac:chgData name="Emma Morris" userId="70c6f1a6-3d9c-40dc-abd7-ac4fa70f9b1e" providerId="ADAL" clId="{415169F6-4C49-4342-A2A8-BA76B313B924}" dt="2025-06-04T14:05:01.446" v="210" actId="2711"/>
          <ac:spMkLst>
            <pc:docMk/>
            <pc:sldMk cId="1035555286" sldId="2134806091"/>
            <ac:spMk id="39" creationId="{A543727E-A2FC-4492-A08B-552B2530E443}"/>
          </ac:spMkLst>
        </pc:spChg>
        <pc:spChg chg="add del mod">
          <ac:chgData name="Emma Morris" userId="70c6f1a6-3d9c-40dc-abd7-ac4fa70f9b1e" providerId="ADAL" clId="{415169F6-4C49-4342-A2A8-BA76B313B924}" dt="2025-06-04T14:05:18.680" v="214" actId="571"/>
          <ac:spMkLst>
            <pc:docMk/>
            <pc:sldMk cId="1035555286" sldId="2134806091"/>
            <ac:spMk id="49" creationId="{E40F0426-1064-79FE-27D2-376CCE8C9198}"/>
          </ac:spMkLst>
        </pc:spChg>
        <pc:spChg chg="add mod">
          <ac:chgData name="Emma Morris" userId="70c6f1a6-3d9c-40dc-abd7-ac4fa70f9b1e" providerId="ADAL" clId="{415169F6-4C49-4342-A2A8-BA76B313B924}" dt="2025-06-04T14:05:18.680" v="214" actId="571"/>
          <ac:spMkLst>
            <pc:docMk/>
            <pc:sldMk cId="1035555286" sldId="2134806091"/>
            <ac:spMk id="50" creationId="{ED102243-5F60-66B0-7CA6-E5C9575CA75D}"/>
          </ac:spMkLst>
        </pc:spChg>
        <pc:spChg chg="add mod">
          <ac:chgData name="Emma Morris" userId="70c6f1a6-3d9c-40dc-abd7-ac4fa70f9b1e" providerId="ADAL" clId="{415169F6-4C49-4342-A2A8-BA76B313B924}" dt="2025-06-04T14:05:18.680" v="214" actId="571"/>
          <ac:spMkLst>
            <pc:docMk/>
            <pc:sldMk cId="1035555286" sldId="2134806091"/>
            <ac:spMk id="51" creationId="{F9716475-6E1C-4E9A-151B-E641F3244609}"/>
          </ac:spMkLst>
        </pc:spChg>
        <pc:spChg chg="mod">
          <ac:chgData name="Emma Morris" userId="70c6f1a6-3d9c-40dc-abd7-ac4fa70f9b1e" providerId="ADAL" clId="{415169F6-4C49-4342-A2A8-BA76B313B924}" dt="2025-06-04T14:05:23.106" v="216" actId="14100"/>
          <ac:spMkLst>
            <pc:docMk/>
            <pc:sldMk cId="1035555286" sldId="2134806091"/>
            <ac:spMk id="55" creationId="{BA6435F7-8DBE-7860-C481-209ADD214BC5}"/>
          </ac:spMkLst>
        </pc:spChg>
        <pc:spChg chg="add mod">
          <ac:chgData name="Emma Morris" userId="70c6f1a6-3d9c-40dc-abd7-ac4fa70f9b1e" providerId="ADAL" clId="{415169F6-4C49-4342-A2A8-BA76B313B924}" dt="2025-06-04T14:05:18.680" v="214" actId="571"/>
          <ac:spMkLst>
            <pc:docMk/>
            <pc:sldMk cId="1035555286" sldId="2134806091"/>
            <ac:spMk id="56" creationId="{52382577-7FF6-00C2-4621-7CA7794DDDCC}"/>
          </ac:spMkLst>
        </pc:spChg>
        <pc:spChg chg="add mod">
          <ac:chgData name="Emma Morris" userId="70c6f1a6-3d9c-40dc-abd7-ac4fa70f9b1e" providerId="ADAL" clId="{415169F6-4C49-4342-A2A8-BA76B313B924}" dt="2025-06-05T13:06:39.063" v="289" actId="207"/>
          <ac:spMkLst>
            <pc:docMk/>
            <pc:sldMk cId="1035555286" sldId="2134806091"/>
            <ac:spMk id="57" creationId="{90E788C4-13A5-B450-2944-580B193D2281}"/>
          </ac:spMkLst>
        </pc:spChg>
        <pc:spChg chg="add mod">
          <ac:chgData name="Emma Morris" userId="70c6f1a6-3d9c-40dc-abd7-ac4fa70f9b1e" providerId="ADAL" clId="{415169F6-4C49-4342-A2A8-BA76B313B924}" dt="2025-06-05T13:07:01.338" v="297" actId="2085"/>
          <ac:spMkLst>
            <pc:docMk/>
            <pc:sldMk cId="1035555286" sldId="2134806091"/>
            <ac:spMk id="58" creationId="{DFDC7E02-1D76-E59A-5119-96591911492F}"/>
          </ac:spMkLst>
        </pc:spChg>
        <pc:spChg chg="add mod">
          <ac:chgData name="Emma Morris" userId="70c6f1a6-3d9c-40dc-abd7-ac4fa70f9b1e" providerId="ADAL" clId="{415169F6-4C49-4342-A2A8-BA76B313B924}" dt="2025-06-05T13:07:53.262" v="318" actId="2085"/>
          <ac:spMkLst>
            <pc:docMk/>
            <pc:sldMk cId="1035555286" sldId="2134806091"/>
            <ac:spMk id="59" creationId="{4CBCFDA9-4CCB-96A5-8AFE-C9BDB08F13F7}"/>
          </ac:spMkLst>
        </pc:spChg>
        <pc:spChg chg="add mod">
          <ac:chgData name="Emma Morris" userId="70c6f1a6-3d9c-40dc-abd7-ac4fa70f9b1e" providerId="ADAL" clId="{415169F6-4C49-4342-A2A8-BA76B313B924}" dt="2025-06-04T14:03:45.676" v="195" actId="1076"/>
          <ac:spMkLst>
            <pc:docMk/>
            <pc:sldMk cId="1035555286" sldId="2134806091"/>
            <ac:spMk id="62" creationId="{6999F48D-F541-7ECA-3E5F-BBAF4246A1C1}"/>
          </ac:spMkLst>
        </pc:spChg>
        <pc:spChg chg="add mod">
          <ac:chgData name="Emma Morris" userId="70c6f1a6-3d9c-40dc-abd7-ac4fa70f9b1e" providerId="ADAL" clId="{415169F6-4C49-4342-A2A8-BA76B313B924}" dt="2025-06-04T14:05:18.680" v="214" actId="571"/>
          <ac:spMkLst>
            <pc:docMk/>
            <pc:sldMk cId="1035555286" sldId="2134806091"/>
            <ac:spMk id="76" creationId="{0726EF4D-6A75-6D77-1540-43DA75C74F1D}"/>
          </ac:spMkLst>
        </pc:spChg>
        <pc:spChg chg="add mod">
          <ac:chgData name="Emma Morris" userId="70c6f1a6-3d9c-40dc-abd7-ac4fa70f9b1e" providerId="ADAL" clId="{415169F6-4C49-4342-A2A8-BA76B313B924}" dt="2025-06-04T14:05:37.797" v="220" actId="1076"/>
          <ac:spMkLst>
            <pc:docMk/>
            <pc:sldMk cId="1035555286" sldId="2134806091"/>
            <ac:spMk id="77" creationId="{16E59C0C-0B43-8BAE-EC59-C8746389C7A1}"/>
          </ac:spMkLst>
        </pc:spChg>
        <pc:grpChg chg="add mod">
          <ac:chgData name="Emma Morris" userId="70c6f1a6-3d9c-40dc-abd7-ac4fa70f9b1e" providerId="ADAL" clId="{415169F6-4C49-4342-A2A8-BA76B313B924}" dt="2025-06-04T14:05:18.680" v="214" actId="571"/>
          <ac:grpSpMkLst>
            <pc:docMk/>
            <pc:sldMk cId="1035555286" sldId="2134806091"/>
            <ac:grpSpMk id="63" creationId="{C5EE6B3D-1836-780C-7B01-C9101941CD2C}"/>
          </ac:grpSpMkLst>
        </pc:grpChg>
        <pc:picChg chg="add mod">
          <ac:chgData name="Emma Morris" userId="70c6f1a6-3d9c-40dc-abd7-ac4fa70f9b1e" providerId="ADAL" clId="{415169F6-4C49-4342-A2A8-BA76B313B924}" dt="2025-06-17T14:16:43.341" v="351"/>
          <ac:picMkLst>
            <pc:docMk/>
            <pc:sldMk cId="1035555286" sldId="2134806091"/>
            <ac:picMk id="2" creationId="{CDB7A492-DC72-A069-07D4-86E91020987E}"/>
          </ac:picMkLst>
        </pc:picChg>
        <pc:cxnChg chg="mod topLvl">
          <ac:chgData name="Emma Morris" userId="70c6f1a6-3d9c-40dc-abd7-ac4fa70f9b1e" providerId="ADAL" clId="{415169F6-4C49-4342-A2A8-BA76B313B924}" dt="2025-06-04T14:04:38.387" v="205" actId="165"/>
          <ac:cxnSpMkLst>
            <pc:docMk/>
            <pc:sldMk cId="1035555286" sldId="2134806091"/>
            <ac:cxnSpMk id="25" creationId="{8EFC7C3D-4E7C-4D4E-830C-50207C557D68}"/>
          </ac:cxnSpMkLst>
        </pc:cxnChg>
      </pc:sldChg>
      <pc:sldChg chg="addSp delSp modSp mod">
        <pc:chgData name="Emma Morris" userId="70c6f1a6-3d9c-40dc-abd7-ac4fa70f9b1e" providerId="ADAL" clId="{415169F6-4C49-4342-A2A8-BA76B313B924}" dt="2025-06-17T14:16:44.127" v="352"/>
        <pc:sldMkLst>
          <pc:docMk/>
          <pc:sldMk cId="3124948886" sldId="2134806092"/>
        </pc:sldMkLst>
        <pc:spChg chg="mod">
          <ac:chgData name="Emma Morris" userId="70c6f1a6-3d9c-40dc-abd7-ac4fa70f9b1e" providerId="ADAL" clId="{415169F6-4C49-4342-A2A8-BA76B313B924}" dt="2025-06-05T13:06:47.514" v="293" actId="2085"/>
          <ac:spMkLst>
            <pc:docMk/>
            <pc:sldMk cId="3124948886" sldId="2134806092"/>
            <ac:spMk id="2" creationId="{D754B059-B2ED-4A58-A646-DC0E7394658C}"/>
          </ac:spMkLst>
        </pc:spChg>
        <pc:spChg chg="mod">
          <ac:chgData name="Emma Morris" userId="70c6f1a6-3d9c-40dc-abd7-ac4fa70f9b1e" providerId="ADAL" clId="{415169F6-4C49-4342-A2A8-BA76B313B924}" dt="2025-06-04T14:06:27.333" v="228" actId="115"/>
          <ac:spMkLst>
            <pc:docMk/>
            <pc:sldMk cId="3124948886" sldId="2134806092"/>
            <ac:spMk id="3" creationId="{C5690CC2-D037-4DDF-B1A0-4DF23A5579EA}"/>
          </ac:spMkLst>
        </pc:spChg>
        <pc:spChg chg="add mod">
          <ac:chgData name="Emma Morris" userId="70c6f1a6-3d9c-40dc-abd7-ac4fa70f9b1e" providerId="ADAL" clId="{415169F6-4C49-4342-A2A8-BA76B313B924}" dt="2025-06-04T14:01:09.087" v="138" actId="2711"/>
          <ac:spMkLst>
            <pc:docMk/>
            <pc:sldMk cId="3124948886" sldId="2134806092"/>
            <ac:spMk id="5" creationId="{3161A86C-9C08-1846-73D9-DC2106D043A7}"/>
          </ac:spMkLst>
        </pc:spChg>
        <pc:spChg chg="mod">
          <ac:chgData name="Emma Morris" userId="70c6f1a6-3d9c-40dc-abd7-ac4fa70f9b1e" providerId="ADAL" clId="{415169F6-4C49-4342-A2A8-BA76B313B924}" dt="2025-06-05T13:06:55.999" v="295" actId="2085"/>
          <ac:spMkLst>
            <pc:docMk/>
            <pc:sldMk cId="3124948886" sldId="2134806092"/>
            <ac:spMk id="6" creationId="{AA655FF5-49B4-49AA-B33B-6C62BDA1ACB1}"/>
          </ac:spMkLst>
        </pc:spChg>
        <pc:spChg chg="mod">
          <ac:chgData name="Emma Morris" userId="70c6f1a6-3d9c-40dc-abd7-ac4fa70f9b1e" providerId="ADAL" clId="{415169F6-4C49-4342-A2A8-BA76B313B924}" dt="2025-06-05T13:08:00.071" v="322" actId="2085"/>
          <ac:spMkLst>
            <pc:docMk/>
            <pc:sldMk cId="3124948886" sldId="2134806092"/>
            <ac:spMk id="7" creationId="{BBF068AF-600C-4DD9-88AE-E3F712CCEC68}"/>
          </ac:spMkLst>
        </pc:spChg>
        <pc:spChg chg="mod">
          <ac:chgData name="Emma Morris" userId="70c6f1a6-3d9c-40dc-abd7-ac4fa70f9b1e" providerId="ADAL" clId="{415169F6-4C49-4342-A2A8-BA76B313B924}" dt="2025-06-04T14:01:15.822" v="142" actId="403"/>
          <ac:spMkLst>
            <pc:docMk/>
            <pc:sldMk cId="3124948886" sldId="2134806092"/>
            <ac:spMk id="36" creationId="{66347B95-A3EC-4BD1-A72A-5EAF58743D03}"/>
          </ac:spMkLst>
        </pc:spChg>
        <pc:picChg chg="add mod">
          <ac:chgData name="Emma Morris" userId="70c6f1a6-3d9c-40dc-abd7-ac4fa70f9b1e" providerId="ADAL" clId="{415169F6-4C49-4342-A2A8-BA76B313B924}" dt="2025-06-17T14:16:44.127" v="352"/>
          <ac:picMkLst>
            <pc:docMk/>
            <pc:sldMk cId="3124948886" sldId="2134806092"/>
            <ac:picMk id="4" creationId="{B0C7F3A4-F08A-51F3-63BB-767196833FE6}"/>
          </ac:picMkLst>
        </pc:picChg>
      </pc:sldChg>
      <pc:sldChg chg="addSp delSp modSp mod chgLayout">
        <pc:chgData name="Emma Morris" userId="70c6f1a6-3d9c-40dc-abd7-ac4fa70f9b1e" providerId="ADAL" clId="{415169F6-4C49-4342-A2A8-BA76B313B924}" dt="2025-06-17T14:16:45.566" v="353"/>
        <pc:sldMkLst>
          <pc:docMk/>
          <pc:sldMk cId="2291952698" sldId="2134806093"/>
        </pc:sldMkLst>
        <pc:spChg chg="mod ord">
          <ac:chgData name="Emma Morris" userId="70c6f1a6-3d9c-40dc-abd7-ac4fa70f9b1e" providerId="ADAL" clId="{415169F6-4C49-4342-A2A8-BA76B313B924}" dt="2025-06-05T13:08:20.984" v="327" actId="6264"/>
          <ac:spMkLst>
            <pc:docMk/>
            <pc:sldMk cId="2291952698" sldId="2134806093"/>
            <ac:spMk id="3" creationId="{C5690CC2-D037-4DDF-B1A0-4DF23A5579EA}"/>
          </ac:spMkLst>
        </pc:spChg>
        <pc:spChg chg="add mod ord">
          <ac:chgData name="Emma Morris" userId="70c6f1a6-3d9c-40dc-abd7-ac4fa70f9b1e" providerId="ADAL" clId="{415169F6-4C49-4342-A2A8-BA76B313B924}" dt="2025-06-05T13:08:33.918" v="334" actId="404"/>
          <ac:spMkLst>
            <pc:docMk/>
            <pc:sldMk cId="2291952698" sldId="2134806093"/>
            <ac:spMk id="4" creationId="{8460BD43-C3E5-7F71-5BB7-BD7C6ED8DB2C}"/>
          </ac:spMkLst>
        </pc:spChg>
        <pc:picChg chg="add mod">
          <ac:chgData name="Emma Morris" userId="70c6f1a6-3d9c-40dc-abd7-ac4fa70f9b1e" providerId="ADAL" clId="{415169F6-4C49-4342-A2A8-BA76B313B924}" dt="2025-06-17T14:16:45.566" v="353"/>
          <ac:picMkLst>
            <pc:docMk/>
            <pc:sldMk cId="2291952698" sldId="2134806093"/>
            <ac:picMk id="2" creationId="{77A68D2C-79C1-02DA-4863-BDDE7D22CD10}"/>
          </ac:picMkLst>
        </pc:picChg>
      </pc:sldChg>
      <pc:sldChg chg="modSp mod">
        <pc:chgData name="Emma Morris" userId="70c6f1a6-3d9c-40dc-abd7-ac4fa70f9b1e" providerId="ADAL" clId="{415169F6-4C49-4342-A2A8-BA76B313B924}" dt="2025-06-04T13:51:31.378" v="2" actId="14100"/>
        <pc:sldMkLst>
          <pc:docMk/>
          <pc:sldMk cId="2815727752" sldId="2134806094"/>
        </pc:sldMkLst>
        <pc:spChg chg="mod">
          <ac:chgData name="Emma Morris" userId="70c6f1a6-3d9c-40dc-abd7-ac4fa70f9b1e" providerId="ADAL" clId="{415169F6-4C49-4342-A2A8-BA76B313B924}" dt="2025-06-04T13:51:23.613" v="0" actId="115"/>
          <ac:spMkLst>
            <pc:docMk/>
            <pc:sldMk cId="2815727752" sldId="2134806094"/>
            <ac:spMk id="3" creationId="{C5690CC2-D037-4DDF-B1A0-4DF23A5579EA}"/>
          </ac:spMkLst>
        </pc:spChg>
        <pc:picChg chg="mod">
          <ac:chgData name="Emma Morris" userId="70c6f1a6-3d9c-40dc-abd7-ac4fa70f9b1e" providerId="ADAL" clId="{415169F6-4C49-4342-A2A8-BA76B313B924}" dt="2025-06-04T13:51:31.378" v="2" actId="14100"/>
          <ac:picMkLst>
            <pc:docMk/>
            <pc:sldMk cId="2815727752" sldId="2134806094"/>
            <ac:picMk id="2" creationId="{6903CD1C-7677-4C79-83AC-2F75771E5B00}"/>
          </ac:picMkLst>
        </pc:picChg>
      </pc:sldChg>
      <pc:sldChg chg="addSp delSp modSp mod chgLayout">
        <pc:chgData name="Emma Morris" userId="70c6f1a6-3d9c-40dc-abd7-ac4fa70f9b1e" providerId="ADAL" clId="{415169F6-4C49-4342-A2A8-BA76B313B924}" dt="2025-06-17T14:16:34.776" v="343"/>
        <pc:sldMkLst>
          <pc:docMk/>
          <pc:sldMk cId="2441250802" sldId="2134806095"/>
        </pc:sldMkLst>
        <pc:spChg chg="mod ord">
          <ac:chgData name="Emma Morris" userId="70c6f1a6-3d9c-40dc-abd7-ac4fa70f9b1e" providerId="ADAL" clId="{415169F6-4C49-4342-A2A8-BA76B313B924}" dt="2025-06-04T13:51:37.235" v="4" actId="6264"/>
          <ac:spMkLst>
            <pc:docMk/>
            <pc:sldMk cId="2441250802" sldId="2134806095"/>
            <ac:spMk id="3" creationId="{C5690CC2-D037-4DDF-B1A0-4DF23A5579EA}"/>
          </ac:spMkLst>
        </pc:spChg>
        <pc:spChg chg="add mod ord">
          <ac:chgData name="Emma Morris" userId="70c6f1a6-3d9c-40dc-abd7-ac4fa70f9b1e" providerId="ADAL" clId="{415169F6-4C49-4342-A2A8-BA76B313B924}" dt="2025-06-04T13:51:54.970" v="10" actId="14100"/>
          <ac:spMkLst>
            <pc:docMk/>
            <pc:sldMk cId="2441250802" sldId="2134806095"/>
            <ac:spMk id="5" creationId="{E53FB90E-3B9F-37A4-5629-A6F5E9BD71B1}"/>
          </ac:spMkLst>
        </pc:spChg>
        <pc:picChg chg="add mod">
          <ac:chgData name="Emma Morris" userId="70c6f1a6-3d9c-40dc-abd7-ac4fa70f9b1e" providerId="ADAL" clId="{415169F6-4C49-4342-A2A8-BA76B313B924}" dt="2025-06-17T14:16:34.776" v="343"/>
          <ac:picMkLst>
            <pc:docMk/>
            <pc:sldMk cId="2441250802" sldId="2134806095"/>
            <ac:picMk id="2" creationId="{82B35AED-D29C-AC22-1735-0BE9249C27E7}"/>
          </ac:picMkLst>
        </pc:picChg>
      </pc:sldChg>
    </pc:docChg>
  </pc:docChgLst>
  <pc:docChgLst>
    <pc:chgData name="Suzanne Strathern" userId="76213b13-8a7d-4f8b-83fb-91be79e57b57" providerId="ADAL" clId="{7F6118FC-E05C-4723-877C-238DBBC734AF}"/>
    <pc:docChg chg="modSld">
      <pc:chgData name="Suzanne Strathern" userId="76213b13-8a7d-4f8b-83fb-91be79e57b57" providerId="ADAL" clId="{7F6118FC-E05C-4723-877C-238DBBC734AF}" dt="2025-05-30T09:40:11.788" v="22" actId="14100"/>
      <pc:docMkLst>
        <pc:docMk/>
      </pc:docMkLst>
      <pc:sldChg chg="modSp mod">
        <pc:chgData name="Suzanne Strathern" userId="76213b13-8a7d-4f8b-83fb-91be79e57b57" providerId="ADAL" clId="{7F6118FC-E05C-4723-877C-238DBBC734AF}" dt="2025-05-30T09:40:11.788" v="22" actId="14100"/>
        <pc:sldMkLst>
          <pc:docMk/>
          <pc:sldMk cId="4045559935" sldId="2134806072"/>
        </pc:sldMkLst>
        <pc:spChg chg="mod">
          <ac:chgData name="Suzanne Strathern" userId="76213b13-8a7d-4f8b-83fb-91be79e57b57" providerId="ADAL" clId="{7F6118FC-E05C-4723-877C-238DBBC734AF}" dt="2025-05-30T09:40:11.788" v="22" actId="14100"/>
          <ac:spMkLst>
            <pc:docMk/>
            <pc:sldMk cId="4045559935" sldId="2134806072"/>
            <ac:spMk id="8" creationId="{AF31F27D-A071-310D-4DD5-41C06EFDE67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6DF3E-67E5-AF46-A64E-8E6F44BB3343}" type="datetimeFigureOut">
              <a:rPr lang="en-US" smtClean="0"/>
              <a:t>6/2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1E68B6-70F9-1741-AA7C-484697655DD4}" type="slidenum">
              <a:rPr lang="en-US" smtClean="0"/>
              <a:t>‹#›</a:t>
            </a:fld>
            <a:endParaRPr lang="en-US"/>
          </a:p>
        </p:txBody>
      </p:sp>
    </p:spTree>
    <p:extLst>
      <p:ext uri="{BB962C8B-B14F-4D97-AF65-F5344CB8AC3E}">
        <p14:creationId xmlns:p14="http://schemas.microsoft.com/office/powerpoint/2010/main" val="14058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2F1E68B6-70F9-1741-AA7C-484697655DD4}" type="slidenum">
              <a:rPr lang="en-US" smtClean="0"/>
              <a:t>1</a:t>
            </a:fld>
            <a:endParaRPr lang="en-US"/>
          </a:p>
        </p:txBody>
      </p:sp>
    </p:spTree>
    <p:extLst>
      <p:ext uri="{BB962C8B-B14F-4D97-AF65-F5344CB8AC3E}">
        <p14:creationId xmlns:p14="http://schemas.microsoft.com/office/powerpoint/2010/main" val="148403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en-GB"/>
                  <a:t>Completing the calculation on the screen as follows:</a:t>
                </a:r>
              </a:p>
              <a:p>
                <a:r>
                  <a:rPr lang="en-GB" sz="1200"/>
                  <a:t>If we substitute our a, b, c and A into our formula, we are given:</a:t>
                </a:r>
              </a:p>
              <a:p>
                <a:pPr/>
                <a14:m>
                  <m:oMathPara xmlns:m="http://schemas.openxmlformats.org/officeDocument/2006/math">
                    <m:oMathParaPr>
                      <m:jc m:val="centerGroup"/>
                    </m:oMathParaPr>
                    <m:oMath xmlns:m="http://schemas.openxmlformats.org/officeDocument/2006/math">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1.65</m:t>
                          </m:r>
                        </m:e>
                        <m:sup>
                          <m:r>
                            <a:rPr lang="en-GB" sz="1200" b="0" i="1" smtClean="0">
                              <a:latin typeface="Cambria Math" panose="02040503050406030204" pitchFamily="18" charset="0"/>
                            </a:rPr>
                            <m:t>2</m:t>
                          </m:r>
                        </m:sup>
                      </m:sSup>
                      <m:r>
                        <a:rPr lang="en-GB" sz="1200" b="0" i="1" smtClean="0">
                          <a:latin typeface="Cambria Math" panose="02040503050406030204" pitchFamily="18" charset="0"/>
                        </a:rPr>
                        <m:t>=</m:t>
                      </m:r>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1.8</m:t>
                          </m:r>
                        </m:e>
                        <m:sup>
                          <m:r>
                            <a:rPr lang="en-GB" sz="1200" b="0" i="1" smtClean="0">
                              <a:latin typeface="Cambria Math" panose="02040503050406030204" pitchFamily="18" charset="0"/>
                            </a:rPr>
                            <m:t>2</m:t>
                          </m:r>
                        </m:sup>
                      </m:sSup>
                      <m:r>
                        <a:rPr lang="en-GB" sz="1200" b="0" i="1" smtClean="0">
                          <a:latin typeface="Cambria Math" panose="02040503050406030204" pitchFamily="18" charset="0"/>
                        </a:rPr>
                        <m:t>+</m:t>
                      </m:r>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1.5</m:t>
                          </m:r>
                        </m:e>
                        <m:sup>
                          <m:r>
                            <a:rPr lang="en-GB" sz="1200" b="0" i="1" smtClean="0">
                              <a:latin typeface="Cambria Math" panose="02040503050406030204" pitchFamily="18" charset="0"/>
                            </a:rPr>
                            <m:t>2</m:t>
                          </m:r>
                        </m:sup>
                      </m:sSup>
                      <m:r>
                        <a:rPr lang="en-GB" sz="1200" b="0" i="1" smtClean="0">
                          <a:latin typeface="Cambria Math" panose="02040503050406030204" pitchFamily="18" charset="0"/>
                        </a:rPr>
                        <m:t>−2</m:t>
                      </m:r>
                      <m:r>
                        <a:rPr lang="en-GB" sz="1200" b="0" i="1" smtClean="0">
                          <a:latin typeface="Cambria Math" panose="02040503050406030204" pitchFamily="18" charset="0"/>
                          <a:ea typeface="Cambria Math" panose="02040503050406030204" pitchFamily="18" charset="0"/>
                        </a:rPr>
                        <m:t>×1.8×1.5×</m:t>
                      </m:r>
                      <m:r>
                        <a:rPr lang="en-GB" sz="1200" b="0" i="1" smtClean="0">
                          <a:latin typeface="Cambria Math" panose="02040503050406030204" pitchFamily="18" charset="0"/>
                          <a:ea typeface="Cambria Math" panose="02040503050406030204" pitchFamily="18" charset="0"/>
                        </a:rPr>
                        <m:t>𝑐𝑜𝑠𝑥</m:t>
                      </m:r>
                    </m:oMath>
                  </m:oMathPara>
                </a14:m>
                <a:endParaRPr lang="en-GB" sz="1200"/>
              </a:p>
              <a:p>
                <a:endParaRPr lang="en-GB" sz="1200"/>
              </a:p>
              <a:p>
                <a:r>
                  <a:rPr lang="en-GB" sz="1200"/>
                  <a:t>Completing this calculation gives us:</a:t>
                </a:r>
              </a:p>
              <a:p>
                <a:endParaRPr lang="en-GB" sz="1200"/>
              </a:p>
              <a:p>
                <a:pPr/>
                <a14:m>
                  <m:oMathPara xmlns:m="http://schemas.openxmlformats.org/officeDocument/2006/math">
                    <m:oMathParaPr>
                      <m:jc m:val="centerGroup"/>
                    </m:oMathParaPr>
                    <m:oMath xmlns:m="http://schemas.openxmlformats.org/officeDocument/2006/math">
                      <m:r>
                        <a:rPr lang="en-GB" sz="1200" b="0" i="1" smtClean="0">
                          <a:latin typeface="Cambria Math" panose="02040503050406030204" pitchFamily="18" charset="0"/>
                        </a:rPr>
                        <m:t>2.7225−(3.24+2.25)=−5.4</m:t>
                      </m:r>
                      <m:r>
                        <a:rPr lang="en-GB" sz="1200" b="0" i="1" smtClean="0">
                          <a:latin typeface="Cambria Math" panose="02040503050406030204" pitchFamily="18" charset="0"/>
                        </a:rPr>
                        <m:t>𝑐𝑜𝑠𝑥</m:t>
                      </m:r>
                      <m:r>
                        <a:rPr lang="en-GB" sz="1200" b="0" i="1" smtClean="0">
                          <a:latin typeface="Cambria Math" panose="02040503050406030204" pitchFamily="18" charset="0"/>
                        </a:rPr>
                        <m:t> </m:t>
                      </m:r>
                    </m:oMath>
                  </m:oMathPara>
                </a14:m>
                <a:endParaRPr lang="en-GB" sz="1200"/>
              </a:p>
              <a:p>
                <a:endParaRPr lang="en-GB" sz="1200"/>
              </a:p>
              <a:p>
                <a:pPr/>
                <a14:m>
                  <m:oMathPara xmlns:m="http://schemas.openxmlformats.org/officeDocument/2006/math">
                    <m:oMathParaPr>
                      <m:jc m:val="centerGroup"/>
                    </m:oMathParaPr>
                    <m:oMath xmlns:m="http://schemas.openxmlformats.org/officeDocument/2006/math">
                      <m:r>
                        <a:rPr lang="en-GB" sz="1200" b="0" i="1" smtClean="0">
                          <a:latin typeface="Cambria Math" panose="02040503050406030204" pitchFamily="18" charset="0"/>
                        </a:rPr>
                        <m:t>−2.7675=−5.4</m:t>
                      </m:r>
                      <m:r>
                        <a:rPr lang="en-GB" sz="1200" b="0" i="1" smtClean="0">
                          <a:latin typeface="Cambria Math" panose="02040503050406030204" pitchFamily="18" charset="0"/>
                        </a:rPr>
                        <m:t>𝑐𝑜𝑠𝑥</m:t>
                      </m:r>
                    </m:oMath>
                  </m:oMathPara>
                </a14:m>
                <a:endParaRPr lang="en-GB" sz="1200" b="0"/>
              </a:p>
              <a:p>
                <a:endParaRPr lang="en-GB" sz="1200"/>
              </a:p>
              <a:p>
                <a:pPr/>
                <a14:m>
                  <m:oMathPara xmlns:m="http://schemas.openxmlformats.org/officeDocument/2006/math">
                    <m:oMathParaPr>
                      <m:jc m:val="centerGroup"/>
                    </m:oMathParaPr>
                    <m:oMath xmlns:m="http://schemas.openxmlformats.org/officeDocument/2006/math">
                      <m:r>
                        <a:rPr lang="en-GB" sz="1200" b="0" i="1" smtClean="0">
                          <a:latin typeface="Cambria Math" panose="02040503050406030204" pitchFamily="18" charset="0"/>
                        </a:rPr>
                        <m:t>𝑐𝑜𝑠𝑥</m:t>
                      </m:r>
                      <m:r>
                        <a:rPr lang="en-GB" sz="1200" b="0" i="1" smtClean="0">
                          <a:latin typeface="Cambria Math" panose="02040503050406030204" pitchFamily="18" charset="0"/>
                        </a:rPr>
                        <m:t>=</m:t>
                      </m:r>
                      <m:f>
                        <m:fPr>
                          <m:ctrlPr>
                            <a:rPr lang="en-GB" sz="1200" b="0" i="1" smtClean="0">
                              <a:latin typeface="Cambria Math" panose="02040503050406030204" pitchFamily="18" charset="0"/>
                            </a:rPr>
                          </m:ctrlPr>
                        </m:fPr>
                        <m:num>
                          <m:r>
                            <a:rPr lang="en-GB" sz="1200" b="0" i="1" smtClean="0">
                              <a:latin typeface="Cambria Math" panose="02040503050406030204" pitchFamily="18" charset="0"/>
                            </a:rPr>
                            <m:t>−2.7675</m:t>
                          </m:r>
                        </m:num>
                        <m:den>
                          <m:r>
                            <a:rPr lang="en-GB" sz="1200" b="0" i="1" smtClean="0">
                              <a:latin typeface="Cambria Math" panose="02040503050406030204" pitchFamily="18" charset="0"/>
                            </a:rPr>
                            <m:t>−5.4</m:t>
                          </m:r>
                        </m:den>
                      </m:f>
                    </m:oMath>
                  </m:oMathPara>
                </a14:m>
                <a:endParaRPr lang="en-GB" sz="1200"/>
              </a:p>
              <a:p>
                <a:endParaRPr lang="en-GB" sz="1200"/>
              </a:p>
              <a:p>
                <a:pPr/>
                <a14:m>
                  <m:oMathPara xmlns:m="http://schemas.openxmlformats.org/officeDocument/2006/math">
                    <m:oMathParaPr>
                      <m:jc m:val="centerGroup"/>
                    </m:oMathParaPr>
                    <m:oMath xmlns:m="http://schemas.openxmlformats.org/officeDocument/2006/math">
                      <m:func>
                        <m:funcPr>
                          <m:ctrlPr>
                            <a:rPr lang="en-GB" sz="1200" b="0" i="1" smtClean="0">
                              <a:latin typeface="Cambria Math" panose="02040503050406030204" pitchFamily="18" charset="0"/>
                            </a:rPr>
                          </m:ctrlPr>
                        </m:funcPr>
                        <m:fName>
                          <m:r>
                            <a:rPr lang="en-GB" sz="1200" b="0" i="1" smtClean="0">
                              <a:latin typeface="Cambria Math" panose="02040503050406030204" pitchFamily="18" charset="0"/>
                            </a:rPr>
                            <m:t>𝑥</m:t>
                          </m:r>
                          <m:r>
                            <a:rPr lang="en-GB" sz="1200" b="0" i="1" smtClean="0">
                              <a:latin typeface="Cambria Math" panose="02040503050406030204" pitchFamily="18" charset="0"/>
                            </a:rPr>
                            <m:t>=</m:t>
                          </m:r>
                          <m:sSup>
                            <m:sSupPr>
                              <m:ctrlPr>
                                <a:rPr lang="en-GB" sz="1200" b="0" i="1" smtClean="0">
                                  <a:latin typeface="Cambria Math" panose="02040503050406030204" pitchFamily="18" charset="0"/>
                                </a:rPr>
                              </m:ctrlPr>
                            </m:sSupPr>
                            <m:e>
                              <m:r>
                                <m:rPr>
                                  <m:sty m:val="p"/>
                                </m:rPr>
                                <a:rPr lang="en-GB" sz="1200" b="0" i="0" smtClean="0">
                                  <a:latin typeface="Cambria Math" panose="02040503050406030204" pitchFamily="18" charset="0"/>
                                </a:rPr>
                                <m:t>cos</m:t>
                              </m:r>
                            </m:e>
                            <m:sup>
                              <m:r>
                                <a:rPr lang="en-GB" sz="1200" b="0" i="1" smtClean="0">
                                  <a:latin typeface="Cambria Math" panose="02040503050406030204" pitchFamily="18" charset="0"/>
                                </a:rPr>
                                <m:t>−1</m:t>
                              </m:r>
                            </m:sup>
                          </m:sSup>
                        </m:fName>
                        <m:e>
                          <m:r>
                            <a:rPr lang="en-GB" sz="1200" b="0" i="1" smtClean="0">
                              <a:latin typeface="Cambria Math" panose="02040503050406030204" pitchFamily="18" charset="0"/>
                            </a:rPr>
                            <m:t>(</m:t>
                          </m:r>
                          <m:f>
                            <m:fPr>
                              <m:ctrlPr>
                                <a:rPr lang="en-GB" sz="1200" b="0" i="1" smtClean="0">
                                  <a:latin typeface="Cambria Math" panose="02040503050406030204" pitchFamily="18" charset="0"/>
                                </a:rPr>
                              </m:ctrlPr>
                            </m:fPr>
                            <m:num>
                              <m:r>
                                <a:rPr lang="en-GB" sz="1200" b="0" i="1" smtClean="0">
                                  <a:latin typeface="Cambria Math" panose="02040503050406030204" pitchFamily="18" charset="0"/>
                                </a:rPr>
                                <m:t>−2.7675</m:t>
                              </m:r>
                            </m:num>
                            <m:den>
                              <m:r>
                                <a:rPr lang="en-GB" sz="1200" b="0" i="1" smtClean="0">
                                  <a:latin typeface="Cambria Math" panose="02040503050406030204" pitchFamily="18" charset="0"/>
                                </a:rPr>
                                <m:t>−5.4</m:t>
                              </m:r>
                            </m:den>
                          </m:f>
                          <m:r>
                            <a:rPr lang="en-GB" sz="1200" b="0" i="1" smtClean="0">
                              <a:latin typeface="Cambria Math" panose="02040503050406030204" pitchFamily="18" charset="0"/>
                            </a:rPr>
                            <m:t>)</m:t>
                          </m:r>
                        </m:e>
                      </m:func>
                    </m:oMath>
                  </m:oMathPara>
                </a14:m>
                <a:endParaRPr lang="en-GB" sz="1200"/>
              </a:p>
              <a:p>
                <a:endParaRPr lang="en-GB" sz="1200"/>
              </a:p>
              <a:p>
                <a:pPr/>
                <a14:m>
                  <m:oMathPara xmlns:m="http://schemas.openxmlformats.org/officeDocument/2006/math">
                    <m:oMathParaPr>
                      <m:jc m:val="centerGroup"/>
                    </m:oMathParaPr>
                    <m:oMath xmlns:m="http://schemas.openxmlformats.org/officeDocument/2006/math">
                      <m:r>
                        <a:rPr lang="en-GB" sz="1200" b="0" i="1" smtClean="0">
                          <a:latin typeface="Cambria Math" panose="02040503050406030204" pitchFamily="18" charset="0"/>
                        </a:rPr>
                        <m:t>𝑥</m:t>
                      </m:r>
                      <m:r>
                        <a:rPr lang="en-GB" sz="1200" b="0" i="1" smtClean="0">
                          <a:latin typeface="Cambria Math" panose="02040503050406030204" pitchFamily="18" charset="0"/>
                        </a:rPr>
                        <m:t>=59.1695025682°</m:t>
                      </m:r>
                    </m:oMath>
                  </m:oMathPara>
                </a14:m>
                <a:endParaRPr lang="en-GB" sz="1200"/>
              </a:p>
              <a:p>
                <a:endParaRPr lang="en-GB"/>
              </a:p>
            </p:txBody>
          </p:sp>
        </mc:Choice>
        <mc:Fallback xmlns="">
          <p:sp>
            <p:nvSpPr>
              <p:cNvPr id="3" name="Notes Placeholder 2"/>
              <p:cNvSpPr>
                <a:spLocks noGrp="1"/>
              </p:cNvSpPr>
              <p:nvPr>
                <p:ph type="body" idx="1"/>
              </p:nvPr>
            </p:nvSpPr>
            <p:spPr/>
            <p:txBody>
              <a:bodyPr/>
              <a:lstStyle/>
              <a:p>
                <a:r>
                  <a:rPr lang="en-GB"/>
                  <a:t>Completing the calculation on the screen as follows:</a:t>
                </a:r>
              </a:p>
              <a:p>
                <a:r>
                  <a:rPr lang="en-GB" sz="1200"/>
                  <a:t>If we substitute our a, b, c and A into our formula, we are given:</a:t>
                </a:r>
              </a:p>
              <a:p>
                <a:pPr/>
                <a:r>
                  <a:rPr lang="en-GB" sz="1200" b="0" i="0">
                    <a:latin typeface="Cambria Math" panose="02040503050406030204" pitchFamily="18" charset="0"/>
                  </a:rPr>
                  <a:t>〖1.65〗^2=〖1.8〗^2+〖1.5〗^2−2</a:t>
                </a:r>
                <a:r>
                  <a:rPr lang="en-GB" sz="1200" b="0" i="0">
                    <a:latin typeface="Cambria Math" panose="02040503050406030204" pitchFamily="18" charset="0"/>
                    <a:ea typeface="Cambria Math" panose="02040503050406030204" pitchFamily="18" charset="0"/>
                  </a:rPr>
                  <a:t>×1.8×1.5×𝑐𝑜𝑠𝑥</a:t>
                </a:r>
                <a:endParaRPr lang="en-GB" sz="1200"/>
              </a:p>
              <a:p>
                <a:endParaRPr lang="en-GB" sz="1200"/>
              </a:p>
              <a:p>
                <a:r>
                  <a:rPr lang="en-GB" sz="1200"/>
                  <a:t>Completing this calculation gives us:</a:t>
                </a:r>
              </a:p>
              <a:p>
                <a:endParaRPr lang="en-GB" sz="1200"/>
              </a:p>
              <a:p>
                <a:pPr/>
                <a:r>
                  <a:rPr lang="en-GB" sz="1200" b="0" i="0">
                    <a:latin typeface="Cambria Math" panose="02040503050406030204" pitchFamily="18" charset="0"/>
                  </a:rPr>
                  <a:t>2.7225−(3.24+2.25)=−5.4𝑐𝑜𝑠𝑥 </a:t>
                </a:r>
                <a:endParaRPr lang="en-GB" sz="1200"/>
              </a:p>
              <a:p>
                <a:endParaRPr lang="en-GB" sz="1200"/>
              </a:p>
              <a:p>
                <a:pPr/>
                <a:r>
                  <a:rPr lang="en-GB" sz="1200" b="0" i="0">
                    <a:latin typeface="Cambria Math" panose="02040503050406030204" pitchFamily="18" charset="0"/>
                  </a:rPr>
                  <a:t>−2.7675=−5.4𝑐𝑜𝑠𝑥</a:t>
                </a:r>
                <a:endParaRPr lang="en-GB" sz="1200" b="0"/>
              </a:p>
              <a:p>
                <a:endParaRPr lang="en-GB" sz="1200"/>
              </a:p>
              <a:p>
                <a:pPr/>
                <a:r>
                  <a:rPr lang="en-GB" sz="1200" b="0" i="0">
                    <a:latin typeface="Cambria Math" panose="02040503050406030204" pitchFamily="18" charset="0"/>
                  </a:rPr>
                  <a:t>𝑐𝑜𝑠𝑥=(−2.7675)/(−5.4)</a:t>
                </a:r>
                <a:endParaRPr lang="en-GB" sz="1200"/>
              </a:p>
              <a:p>
                <a:endParaRPr lang="en-GB" sz="1200"/>
              </a:p>
              <a:p>
                <a:pPr/>
                <a:r>
                  <a:rPr lang="en-GB" sz="1200" b="0" i="0">
                    <a:latin typeface="Cambria Math" panose="02040503050406030204" pitchFamily="18" charset="0"/>
                  </a:rPr>
                  <a:t>〖𝑥=cos^(−1)〗⁡〖((−2.7675)/(−5.4))〗</a:t>
                </a:r>
                <a:endParaRPr lang="en-GB" sz="1200"/>
              </a:p>
              <a:p>
                <a:endParaRPr lang="en-GB" sz="1200"/>
              </a:p>
              <a:p>
                <a:pPr/>
                <a:r>
                  <a:rPr lang="en-GB" sz="1200" b="0" i="0">
                    <a:latin typeface="Cambria Math" panose="02040503050406030204" pitchFamily="18" charset="0"/>
                  </a:rPr>
                  <a:t>𝑥=59.1695025682°</a:t>
                </a:r>
                <a:endParaRPr lang="en-GB" sz="1200"/>
              </a:p>
              <a:p>
                <a:endParaRPr lang="en-GB"/>
              </a:p>
            </p:txBody>
          </p:sp>
        </mc:Fallback>
      </mc:AlternateContent>
      <p:sp>
        <p:nvSpPr>
          <p:cNvPr id="4" name="Slide Number Placeholder 3"/>
          <p:cNvSpPr>
            <a:spLocks noGrp="1"/>
          </p:cNvSpPr>
          <p:nvPr>
            <p:ph type="sldNum" sz="quarter" idx="5"/>
          </p:nvPr>
        </p:nvSpPr>
        <p:spPr/>
        <p:txBody>
          <a:bodyPr/>
          <a:lstStyle/>
          <a:p>
            <a:fld id="{2F1E68B6-70F9-1741-AA7C-484697655DD4}" type="slidenum">
              <a:rPr lang="en-US" smtClean="0"/>
              <a:t>10</a:t>
            </a:fld>
            <a:endParaRPr lang="en-US"/>
          </a:p>
        </p:txBody>
      </p:sp>
    </p:spTree>
    <p:extLst>
      <p:ext uri="{BB962C8B-B14F-4D97-AF65-F5344CB8AC3E}">
        <p14:creationId xmlns:p14="http://schemas.microsoft.com/office/powerpoint/2010/main" val="14665956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nswers:</a:t>
            </a:r>
          </a:p>
          <a:p>
            <a:r>
              <a:rPr lang="en-GB"/>
              <a:t>1. 130.541601874</a:t>
            </a:r>
          </a:p>
          <a:p>
            <a:r>
              <a:rPr lang="en-GB"/>
              <a:t>2. 96.3793702084</a:t>
            </a:r>
          </a:p>
        </p:txBody>
      </p:sp>
      <p:sp>
        <p:nvSpPr>
          <p:cNvPr id="4" name="Slide Number Placeholder 3"/>
          <p:cNvSpPr>
            <a:spLocks noGrp="1"/>
          </p:cNvSpPr>
          <p:nvPr>
            <p:ph type="sldNum" sz="quarter" idx="5"/>
          </p:nvPr>
        </p:nvSpPr>
        <p:spPr/>
        <p:txBody>
          <a:bodyPr/>
          <a:lstStyle/>
          <a:p>
            <a:fld id="{2F1E68B6-70F9-1741-AA7C-484697655DD4}" type="slidenum">
              <a:rPr lang="en-US" smtClean="0"/>
              <a:t>11</a:t>
            </a:fld>
            <a:endParaRPr lang="en-US"/>
          </a:p>
        </p:txBody>
      </p:sp>
    </p:spTree>
    <p:extLst>
      <p:ext uri="{BB962C8B-B14F-4D97-AF65-F5344CB8AC3E}">
        <p14:creationId xmlns:p14="http://schemas.microsoft.com/office/powerpoint/2010/main" val="80712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2</a:t>
            </a:fld>
            <a:endParaRPr lang="en-US"/>
          </a:p>
        </p:txBody>
      </p:sp>
    </p:spTree>
    <p:extLst>
      <p:ext uri="{BB962C8B-B14F-4D97-AF65-F5344CB8AC3E}">
        <p14:creationId xmlns:p14="http://schemas.microsoft.com/office/powerpoint/2010/main" val="2232664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3</a:t>
            </a:fld>
            <a:endParaRPr lang="en-US"/>
          </a:p>
        </p:txBody>
      </p:sp>
    </p:spTree>
    <p:extLst>
      <p:ext uri="{BB962C8B-B14F-4D97-AF65-F5344CB8AC3E}">
        <p14:creationId xmlns:p14="http://schemas.microsoft.com/office/powerpoint/2010/main" val="1668249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14</a:t>
            </a:fld>
            <a:endParaRPr lang="en-US"/>
          </a:p>
        </p:txBody>
      </p:sp>
    </p:spTree>
    <p:extLst>
      <p:ext uri="{BB962C8B-B14F-4D97-AF65-F5344CB8AC3E}">
        <p14:creationId xmlns:p14="http://schemas.microsoft.com/office/powerpoint/2010/main" val="3905239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2</a:t>
            </a:fld>
            <a:endParaRPr lang="en-US"/>
          </a:p>
        </p:txBody>
      </p:sp>
    </p:spTree>
    <p:extLst>
      <p:ext uri="{BB962C8B-B14F-4D97-AF65-F5344CB8AC3E}">
        <p14:creationId xmlns:p14="http://schemas.microsoft.com/office/powerpoint/2010/main" val="1558497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3</a:t>
            </a:fld>
            <a:endParaRPr lang="en-US"/>
          </a:p>
        </p:txBody>
      </p:sp>
    </p:spTree>
    <p:extLst>
      <p:ext uri="{BB962C8B-B14F-4D97-AF65-F5344CB8AC3E}">
        <p14:creationId xmlns:p14="http://schemas.microsoft.com/office/powerpoint/2010/main" val="3147437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1E68B6-70F9-1741-AA7C-484697655DD4}" type="slidenum">
              <a:rPr lang="en-US" smtClean="0"/>
              <a:t>4</a:t>
            </a:fld>
            <a:endParaRPr lang="en-US"/>
          </a:p>
        </p:txBody>
      </p:sp>
    </p:spTree>
    <p:extLst>
      <p:ext uri="{BB962C8B-B14F-4D97-AF65-F5344CB8AC3E}">
        <p14:creationId xmlns:p14="http://schemas.microsoft.com/office/powerpoint/2010/main" val="1105942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ere we have three points, D, E and F.  D and E represent two points on any given engine structure, with the robot arm stationed at point F. If the arm is working at D, and has to move towards point E, it will have to turn through an angle at point F.</a:t>
            </a:r>
          </a:p>
        </p:txBody>
      </p:sp>
      <p:sp>
        <p:nvSpPr>
          <p:cNvPr id="4" name="Slide Number Placeholder 3"/>
          <p:cNvSpPr>
            <a:spLocks noGrp="1"/>
          </p:cNvSpPr>
          <p:nvPr>
            <p:ph type="sldNum" sz="quarter" idx="5"/>
          </p:nvPr>
        </p:nvSpPr>
        <p:spPr/>
        <p:txBody>
          <a:bodyPr/>
          <a:lstStyle/>
          <a:p>
            <a:fld id="{2F1E68B6-70F9-1741-AA7C-484697655DD4}" type="slidenum">
              <a:rPr lang="en-US" smtClean="0"/>
              <a:t>5</a:t>
            </a:fld>
            <a:endParaRPr lang="en-US"/>
          </a:p>
        </p:txBody>
      </p:sp>
    </p:spTree>
    <p:extLst>
      <p:ext uri="{BB962C8B-B14F-4D97-AF65-F5344CB8AC3E}">
        <p14:creationId xmlns:p14="http://schemas.microsoft.com/office/powerpoint/2010/main" val="1239404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sing the information regarding the movements, we can model this as a triangle. The angle we wish to find we will label x.</a:t>
            </a:r>
          </a:p>
        </p:txBody>
      </p:sp>
      <p:sp>
        <p:nvSpPr>
          <p:cNvPr id="4" name="Slide Number Placeholder 3"/>
          <p:cNvSpPr>
            <a:spLocks noGrp="1"/>
          </p:cNvSpPr>
          <p:nvPr>
            <p:ph type="sldNum" sz="quarter" idx="5"/>
          </p:nvPr>
        </p:nvSpPr>
        <p:spPr/>
        <p:txBody>
          <a:bodyPr/>
          <a:lstStyle/>
          <a:p>
            <a:fld id="{2F1E68B6-70F9-1741-AA7C-484697655DD4}" type="slidenum">
              <a:rPr lang="en-US" smtClean="0"/>
              <a:t>6</a:t>
            </a:fld>
            <a:endParaRPr lang="en-US"/>
          </a:p>
        </p:txBody>
      </p:sp>
    </p:spTree>
    <p:extLst>
      <p:ext uri="{BB962C8B-B14F-4D97-AF65-F5344CB8AC3E}">
        <p14:creationId xmlns:p14="http://schemas.microsoft.com/office/powerpoint/2010/main" val="168686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w to solve this problem, we will assume that the robot can calculate the distances between the points in which it needs to travel. The distance from AC will be 1.5 metres, BC will be 1.8 metres, and AB will be 1.65 metres. To work out this missing angle, we shall have to use the cosine rule.</a:t>
            </a:r>
          </a:p>
        </p:txBody>
      </p:sp>
      <p:sp>
        <p:nvSpPr>
          <p:cNvPr id="4" name="Slide Number Placeholder 3"/>
          <p:cNvSpPr>
            <a:spLocks noGrp="1"/>
          </p:cNvSpPr>
          <p:nvPr>
            <p:ph type="sldNum" sz="quarter" idx="5"/>
          </p:nvPr>
        </p:nvSpPr>
        <p:spPr/>
        <p:txBody>
          <a:bodyPr/>
          <a:lstStyle/>
          <a:p>
            <a:fld id="{2F1E68B6-70F9-1741-AA7C-484697655DD4}" type="slidenum">
              <a:rPr lang="en-US" smtClean="0"/>
              <a:t>7</a:t>
            </a:fld>
            <a:endParaRPr lang="en-US"/>
          </a:p>
        </p:txBody>
      </p:sp>
    </p:spTree>
    <p:extLst>
      <p:ext uri="{BB962C8B-B14F-4D97-AF65-F5344CB8AC3E}">
        <p14:creationId xmlns:p14="http://schemas.microsoft.com/office/powerpoint/2010/main" val="4245167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The cosine rule has the formula </a:t>
                </a:r>
                <a14:m>
                  <m:oMath xmlns:m="http://schemas.openxmlformats.org/officeDocument/2006/math">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𝑎</m:t>
                        </m:r>
                      </m:e>
                      <m:sup>
                        <m:r>
                          <a:rPr lang="en-GB" sz="1200" b="0" i="1" smtClean="0">
                            <a:latin typeface="Cambria Math" panose="02040503050406030204" pitchFamily="18" charset="0"/>
                          </a:rPr>
                          <m:t>2</m:t>
                        </m:r>
                      </m:sup>
                    </m:sSup>
                    <m:r>
                      <a:rPr lang="en-GB" sz="1200" b="0" i="1" smtClean="0">
                        <a:latin typeface="Cambria Math" panose="02040503050406030204" pitchFamily="18" charset="0"/>
                      </a:rPr>
                      <m:t>=</m:t>
                    </m:r>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𝑏</m:t>
                        </m:r>
                      </m:e>
                      <m:sup>
                        <m:r>
                          <a:rPr lang="en-GB" sz="1200" b="0" i="1" smtClean="0">
                            <a:latin typeface="Cambria Math" panose="02040503050406030204" pitchFamily="18" charset="0"/>
                          </a:rPr>
                          <m:t>2</m:t>
                        </m:r>
                      </m:sup>
                    </m:sSup>
                    <m:r>
                      <a:rPr lang="en-GB" sz="1200" b="0" i="1" smtClean="0">
                        <a:latin typeface="Cambria Math" panose="02040503050406030204" pitchFamily="18" charset="0"/>
                      </a:rPr>
                      <m:t>+</m:t>
                    </m:r>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𝑐</m:t>
                        </m:r>
                      </m:e>
                      <m:sup>
                        <m:r>
                          <a:rPr lang="en-GB" sz="1200" b="0" i="1" smtClean="0">
                            <a:latin typeface="Cambria Math" panose="02040503050406030204" pitchFamily="18" charset="0"/>
                          </a:rPr>
                          <m:t>2</m:t>
                        </m:r>
                      </m:sup>
                    </m:sSup>
                    <m:r>
                      <a:rPr lang="en-GB" sz="1200" b="0" i="1" smtClean="0">
                        <a:latin typeface="Cambria Math" panose="02040503050406030204" pitchFamily="18" charset="0"/>
                      </a:rPr>
                      <m:t>−2</m:t>
                    </m:r>
                    <m:r>
                      <a:rPr lang="en-GB" sz="1200" b="0" i="1" smtClean="0">
                        <a:latin typeface="Cambria Math" panose="02040503050406030204" pitchFamily="18" charset="0"/>
                      </a:rPr>
                      <m:t>𝑏𝑐𝐶𝑜𝑠𝐴</m:t>
                    </m:r>
                  </m:oMath>
                </a14:m>
                <a:r>
                  <a:rPr lang="en-GB" sz="1200"/>
                  <a:t>, where a, b and c are the lengths of the sides, and A is the size of the angle opposite to the side with length a. The order in which b and c are given does not matter,</a:t>
                </a:r>
                <a:r>
                  <a:rPr lang="en-GB" sz="1200" baseline="0"/>
                  <a:t> but angle A (the one which is being calculated) must be opposite the side which has been labelled 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a:t>More discussion at teacher discretion can be completed here for explanation and understanding purposes.</a:t>
                </a:r>
                <a:endParaRPr lang="en-GB" sz="1200"/>
              </a:p>
              <a:p>
                <a:endParaRPr lang="en-GB"/>
              </a:p>
            </p:txBody>
          </p:sp>
        </mc:Choice>
        <mc:Fallback xmlns="">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The cosine rule has the formula </a:t>
                </a:r>
                <a:r>
                  <a:rPr lang="en-GB" sz="1200" b="0" i="0">
                    <a:latin typeface="Cambria Math" panose="02040503050406030204" pitchFamily="18" charset="0"/>
                  </a:rPr>
                  <a:t>𝑎^2=𝑏^2+𝑐^2−2𝑏𝑐𝐶𝑜𝑠𝐴</a:t>
                </a:r>
                <a:r>
                  <a:rPr lang="en-GB" sz="1200"/>
                  <a:t>, where a, b and c are the lengths of the sides, and A is the size of the angle opposite to the side with length a. The order in which b and c are given does not matter,</a:t>
                </a:r>
                <a:r>
                  <a:rPr lang="en-GB" sz="1200" baseline="0"/>
                  <a:t> but angle A (the one which is being calculated) must be opposite the side which has been labelled 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a:t>More discussion at teacher discretion can be completed here for explanation and understanding purposes.</a:t>
                </a:r>
                <a:endParaRPr lang="en-GB" sz="1200"/>
              </a:p>
              <a:p>
                <a:endParaRPr lang="en-GB"/>
              </a:p>
            </p:txBody>
          </p:sp>
        </mc:Fallback>
      </mc:AlternateContent>
      <p:sp>
        <p:nvSpPr>
          <p:cNvPr id="4" name="Slide Number Placeholder 3"/>
          <p:cNvSpPr>
            <a:spLocks noGrp="1"/>
          </p:cNvSpPr>
          <p:nvPr>
            <p:ph type="sldNum" sz="quarter" idx="5"/>
          </p:nvPr>
        </p:nvSpPr>
        <p:spPr/>
        <p:txBody>
          <a:bodyPr/>
          <a:lstStyle/>
          <a:p>
            <a:fld id="{2F1E68B6-70F9-1741-AA7C-484697655DD4}" type="slidenum">
              <a:rPr lang="en-US" smtClean="0"/>
              <a:t>8</a:t>
            </a:fld>
            <a:endParaRPr lang="en-US"/>
          </a:p>
        </p:txBody>
      </p:sp>
    </p:spTree>
    <p:extLst>
      <p:ext uri="{BB962C8B-B14F-4D97-AF65-F5344CB8AC3E}">
        <p14:creationId xmlns:p14="http://schemas.microsoft.com/office/powerpoint/2010/main" val="1268124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pplying our knowledge of the cosine rule to this question, we find that a = 1.65, b = 1.8, c = 1.5 and A = x. </a:t>
            </a:r>
          </a:p>
        </p:txBody>
      </p:sp>
      <p:sp>
        <p:nvSpPr>
          <p:cNvPr id="4" name="Slide Number Placeholder 3"/>
          <p:cNvSpPr>
            <a:spLocks noGrp="1"/>
          </p:cNvSpPr>
          <p:nvPr>
            <p:ph type="sldNum" sz="quarter" idx="5"/>
          </p:nvPr>
        </p:nvSpPr>
        <p:spPr/>
        <p:txBody>
          <a:bodyPr/>
          <a:lstStyle/>
          <a:p>
            <a:fld id="{2F1E68B6-70F9-1741-AA7C-484697655DD4}" type="slidenum">
              <a:rPr lang="en-US" smtClean="0"/>
              <a:t>9</a:t>
            </a:fld>
            <a:endParaRPr lang="en-US"/>
          </a:p>
        </p:txBody>
      </p:sp>
    </p:spTree>
    <p:extLst>
      <p:ext uri="{BB962C8B-B14F-4D97-AF65-F5344CB8AC3E}">
        <p14:creationId xmlns:p14="http://schemas.microsoft.com/office/powerpoint/2010/main" val="2984389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Blank">
    <p:bg>
      <p:bgPr>
        <a:solidFill>
          <a:schemeClr val="accent3"/>
        </a:solidFill>
        <a:effectLst/>
      </p:bgPr>
    </p:bg>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CA983368-791D-BC47-4FCE-93DCABC7997B}"/>
              </a:ext>
            </a:extLst>
          </p:cNvPr>
          <p:cNvSpPr>
            <a:spLocks noGrp="1"/>
          </p:cNvSpPr>
          <p:nvPr>
            <p:ph type="title" hasCustomPrompt="1"/>
          </p:nvPr>
        </p:nvSpPr>
        <p:spPr>
          <a:xfrm>
            <a:off x="334108" y="1947741"/>
            <a:ext cx="4329967" cy="1961651"/>
          </a:xfrm>
          <a:prstGeom prst="rect">
            <a:avLst/>
          </a:prstGeom>
        </p:spPr>
        <p:txBody>
          <a:bodyPr/>
          <a:lstStyle>
            <a:lvl1pPr>
              <a:defRPr sz="4400" b="0" i="0">
                <a:solidFill>
                  <a:schemeClr val="bg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presentation title</a:t>
            </a:r>
            <a:endParaRPr lang="en-US"/>
          </a:p>
        </p:txBody>
      </p:sp>
      <p:sp>
        <p:nvSpPr>
          <p:cNvPr id="5" name="Text Placeholder 14">
            <a:extLst>
              <a:ext uri="{FF2B5EF4-FFF2-40B4-BE49-F238E27FC236}">
                <a16:creationId xmlns:a16="http://schemas.microsoft.com/office/drawing/2014/main" id="{CD7B4470-F057-577C-08F8-270EC8E7C979}"/>
              </a:ext>
            </a:extLst>
          </p:cNvPr>
          <p:cNvSpPr>
            <a:spLocks noGrp="1"/>
          </p:cNvSpPr>
          <p:nvPr>
            <p:ph type="body" sz="quarter" idx="10" hasCustomPrompt="1"/>
          </p:nvPr>
        </p:nvSpPr>
        <p:spPr>
          <a:xfrm>
            <a:off x="333418" y="4395789"/>
            <a:ext cx="4330657" cy="428004"/>
          </a:xfrm>
          <a:prstGeom prst="rect">
            <a:avLst/>
          </a:prstGeom>
        </p:spPr>
        <p:txBody>
          <a:bodyPr/>
          <a:lstStyle>
            <a:lvl1pPr marL="0" indent="0" algn="l">
              <a:lnSpc>
                <a:spcPct val="150000"/>
              </a:lnSpc>
              <a:buNone/>
              <a:defRPr b="0" i="0" baseline="30000">
                <a:solidFill>
                  <a:schemeClr val="bg1"/>
                </a:solidFill>
                <a:latin typeface="Inter" panose="02000503000000020004" pitchFamily="2" charset="0"/>
                <a:ea typeface="Inter" panose="02000503000000020004" pitchFamily="2" charset="0"/>
                <a:cs typeface="Arial" panose="020B0604020202020204" pitchFamily="34" charset="0"/>
              </a:defRPr>
            </a:lvl1pPr>
          </a:lstStyle>
          <a:p>
            <a:pPr lvl="0"/>
            <a:r>
              <a:rPr lang="en-GB"/>
              <a:t>Insert date or sub-title</a:t>
            </a:r>
            <a:endParaRPr lang="en-US"/>
          </a:p>
        </p:txBody>
      </p:sp>
    </p:spTree>
    <p:extLst>
      <p:ext uri="{BB962C8B-B14F-4D97-AF65-F5344CB8AC3E}">
        <p14:creationId xmlns:p14="http://schemas.microsoft.com/office/powerpoint/2010/main" val="1277368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rgundy - Half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096000" y="1"/>
            <a:ext cx="6095999" cy="6857999"/>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637049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rgundy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3017185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rgundy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3674291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lac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1520829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lac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4976877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lac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16605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lac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207628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lac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1962192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ac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628890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ilac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515001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Blank - White Text">
    <p:bg>
      <p:bgPr>
        <a:solidFill>
          <a:schemeClr val="accent3"/>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3" name="Title 8">
            <a:extLst>
              <a:ext uri="{FF2B5EF4-FFF2-40B4-BE49-F238E27FC236}">
                <a16:creationId xmlns:a16="http://schemas.microsoft.com/office/drawing/2014/main" id="{2F0F4649-74F2-0B6F-C33D-5D3646814BF7}"/>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4" name="Text Placeholder 14">
            <a:extLst>
              <a:ext uri="{FF2B5EF4-FFF2-40B4-BE49-F238E27FC236}">
                <a16:creationId xmlns:a16="http://schemas.microsoft.com/office/drawing/2014/main" id="{B1347F01-C180-C1E6-46F6-5FB68BA5E313}"/>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400963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ilac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8161915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087976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en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5498843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een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693414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een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076842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een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4144439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0473639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een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1533064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en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19849870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479614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lank - Dark Text Right">
    <p:bg>
      <p:bgPr>
        <a:solidFill>
          <a:schemeClr val="accent3"/>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Title 8">
            <a:extLst>
              <a:ext uri="{FF2B5EF4-FFF2-40B4-BE49-F238E27FC236}">
                <a16:creationId xmlns:a16="http://schemas.microsoft.com/office/drawing/2014/main" id="{2F0F4649-74F2-0B6F-C33D-5D3646814BF7}"/>
              </a:ext>
            </a:extLst>
          </p:cNvPr>
          <p:cNvSpPr>
            <a:spLocks noGrp="1"/>
          </p:cNvSpPr>
          <p:nvPr>
            <p:ph type="title" hasCustomPrompt="1"/>
          </p:nvPr>
        </p:nvSpPr>
        <p:spPr>
          <a:xfrm>
            <a:off x="7716382"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4" name="Text Placeholder 14">
            <a:extLst>
              <a:ext uri="{FF2B5EF4-FFF2-40B4-BE49-F238E27FC236}">
                <a16:creationId xmlns:a16="http://schemas.microsoft.com/office/drawing/2014/main" id="{B1347F01-C180-C1E6-46F6-5FB68BA5E313}"/>
              </a:ext>
            </a:extLst>
          </p:cNvPr>
          <p:cNvSpPr>
            <a:spLocks noGrp="1"/>
          </p:cNvSpPr>
          <p:nvPr>
            <p:ph type="body" sz="quarter" idx="10"/>
          </p:nvPr>
        </p:nvSpPr>
        <p:spPr>
          <a:xfrm>
            <a:off x="7716382"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2991885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7018703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ey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97672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ey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01022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ey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678908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ey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659386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ey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1414869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tx2"/>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12756156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110054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3042721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70781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rgundy -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A657E808-160A-4EE7-542C-0A72374866B4}"/>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8164989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hite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tx2"/>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545431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33780726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hite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9727084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hite - Half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tx2"/>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095999" y="0"/>
            <a:ext cx="6096001" cy="6857999"/>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29056822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hite - Title Only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334106" y="1310640"/>
            <a:ext cx="11523786"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432452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 Title Only - 2 Imag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tx2"/>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tx2"/>
              </a:solidFill>
              <a:latin typeface="Inter" panose="02000503000000020004" pitchFamily="2" charset="0"/>
              <a:ea typeface="Inter" panose="02000503000000020004" pitchFamily="2" charset="0"/>
              <a:cs typeface="Arial" panose="020B0604020202020204" pitchFamily="34" charset="0"/>
            </a:endParaRP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6350000"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
        <p:nvSpPr>
          <p:cNvPr id="2" name="Title 8">
            <a:extLst>
              <a:ext uri="{FF2B5EF4-FFF2-40B4-BE49-F238E27FC236}">
                <a16:creationId xmlns:a16="http://schemas.microsoft.com/office/drawing/2014/main" id="{9A266F08-CDC9-5B7A-4972-C368132F4413}"/>
              </a:ext>
            </a:extLst>
          </p:cNvPr>
          <p:cNvSpPr>
            <a:spLocks noGrp="1"/>
          </p:cNvSpPr>
          <p:nvPr>
            <p:ph type="title" hasCustomPrompt="1"/>
          </p:nvPr>
        </p:nvSpPr>
        <p:spPr>
          <a:xfrm>
            <a:off x="334107" y="423741"/>
            <a:ext cx="11523786"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4" name="Picture Placeholder 2">
            <a:extLst>
              <a:ext uri="{FF2B5EF4-FFF2-40B4-BE49-F238E27FC236}">
                <a16:creationId xmlns:a16="http://schemas.microsoft.com/office/drawing/2014/main" id="{B5457752-6117-6218-D963-9DF541ABBBA3}"/>
              </a:ext>
            </a:extLst>
          </p:cNvPr>
          <p:cNvSpPr>
            <a:spLocks noGrp="1"/>
          </p:cNvSpPr>
          <p:nvPr>
            <p:ph type="pic" sz="quarter" idx="12" hasCustomPrompt="1"/>
          </p:nvPr>
        </p:nvSpPr>
        <p:spPr>
          <a:xfrm>
            <a:off x="334107" y="1310640"/>
            <a:ext cx="5507892" cy="4573066"/>
          </a:xfrm>
          <a:prstGeom prst="rect">
            <a:avLst/>
          </a:prstGeom>
        </p:spPr>
        <p:txBody>
          <a:bodyPr/>
          <a:lstStyle>
            <a:lvl1pPr marL="0" indent="0" algn="ctr">
              <a:buNone/>
              <a:defRPr sz="2000" b="0" i="0">
                <a:solidFill>
                  <a:schemeClr val="tx2"/>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41503313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Title 8">
            <a:extLst>
              <a:ext uri="{FF2B5EF4-FFF2-40B4-BE49-F238E27FC236}">
                <a16:creationId xmlns:a16="http://schemas.microsoft.com/office/drawing/2014/main" id="{13DFD72A-8F3F-0894-6A6B-C44DB8C0C1A3}"/>
              </a:ext>
            </a:extLst>
          </p:cNvPr>
          <p:cNvSpPr>
            <a:spLocks noGrp="1"/>
          </p:cNvSpPr>
          <p:nvPr>
            <p:ph type="title" hasCustomPrompt="1"/>
          </p:nvPr>
        </p:nvSpPr>
        <p:spPr>
          <a:xfrm>
            <a:off x="334108" y="2572795"/>
            <a:ext cx="10515600"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Thank you</a:t>
            </a:r>
            <a:endParaRPr lang="en-US"/>
          </a:p>
        </p:txBody>
      </p:sp>
      <p:sp>
        <p:nvSpPr>
          <p:cNvPr id="3" name="TextBox 2">
            <a:extLst>
              <a:ext uri="{FF2B5EF4-FFF2-40B4-BE49-F238E27FC236}">
                <a16:creationId xmlns:a16="http://schemas.microsoft.com/office/drawing/2014/main" id="{1655E2D0-8BC2-894A-6BA1-591F5BF4DC60}"/>
              </a:ext>
            </a:extLst>
          </p:cNvPr>
          <p:cNvSpPr txBox="1"/>
          <p:nvPr userDrawn="1"/>
        </p:nvSpPr>
        <p:spPr>
          <a:xfrm>
            <a:off x="333375" y="3859295"/>
            <a:ext cx="5351808" cy="1815882"/>
          </a:xfrm>
          <a:prstGeom prst="rect">
            <a:avLst/>
          </a:prstGeom>
          <a:noFill/>
        </p:spPr>
        <p:txBody>
          <a:bodyPr wrap="square" rtlCol="0">
            <a:spAutoFit/>
          </a:bodyPr>
          <a:lstStyle/>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Teesside Airport Business Suite</a:t>
            </a: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Teesside International Airport</a:t>
            </a: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Darlington DL2 1NJ</a:t>
            </a:r>
          </a:p>
          <a:p>
            <a:pPr lvl="0"/>
            <a:endParaRPr lang="en-GB" sz="1400" b="0" i="0">
              <a:solidFill>
                <a:schemeClr val="bg1"/>
              </a:solidFill>
              <a:latin typeface="Inter" panose="02000503000000020004" pitchFamily="2" charset="0"/>
              <a:ea typeface="Inter" panose="02000503000000020004" pitchFamily="2" charset="0"/>
              <a:cs typeface="Arial" panose="020B0604020202020204" pitchFamily="34" charset="0"/>
            </a:endParaRP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01325 792 600</a:t>
            </a:r>
          </a:p>
          <a:p>
            <a:pPr lvl="0"/>
            <a:r>
              <a:rPr lang="en-GB" sz="1400" b="0" i="0" err="1">
                <a:solidFill>
                  <a:schemeClr val="bg1"/>
                </a:solidFill>
                <a:latin typeface="Inter" panose="02000503000000020004" pitchFamily="2" charset="0"/>
                <a:ea typeface="Inter" panose="02000503000000020004" pitchFamily="2" charset="0"/>
                <a:cs typeface="Arial" panose="020B0604020202020204" pitchFamily="34" charset="0"/>
              </a:rPr>
              <a:t>www.teesvalley-ca.gov.uk</a:t>
            </a:r>
            <a:endParaRPr lang="en-GB" sz="1400" b="0" i="0">
              <a:solidFill>
                <a:schemeClr val="bg1"/>
              </a:solidFill>
              <a:latin typeface="Inter" panose="02000503000000020004" pitchFamily="2" charset="0"/>
              <a:ea typeface="Inter" panose="02000503000000020004" pitchFamily="2" charset="0"/>
              <a:cs typeface="Arial" panose="020B0604020202020204" pitchFamily="34" charset="0"/>
            </a:endParaRPr>
          </a:p>
          <a:p>
            <a:pPr lvl="0"/>
            <a:endParaRPr lang="en-GB" sz="1400" b="0" i="0">
              <a:solidFill>
                <a:schemeClr val="bg1"/>
              </a:solidFill>
              <a:latin typeface="Inter" panose="02000503000000020004" pitchFamily="2" charset="0"/>
              <a:ea typeface="Inter" panose="02000503000000020004" pitchFamily="2" charset="0"/>
              <a:cs typeface="Arial" panose="020B0604020202020204" pitchFamily="34" charset="0"/>
            </a:endParaRPr>
          </a:p>
          <a:p>
            <a:pPr lvl="0"/>
            <a:r>
              <a:rPr lang="en-GB" sz="1400" b="0" i="0">
                <a:solidFill>
                  <a:schemeClr val="bg1"/>
                </a:solidFill>
                <a:latin typeface="Inter" panose="02000503000000020004" pitchFamily="2" charset="0"/>
                <a:ea typeface="Inter" panose="02000503000000020004" pitchFamily="2" charset="0"/>
                <a:cs typeface="Arial" panose="020B0604020202020204" pitchFamily="34" charset="0"/>
              </a:rPr>
              <a:t>Follow us </a:t>
            </a:r>
            <a:r>
              <a:rPr lang="en-GB" sz="1400" b="0" i="0">
                <a:solidFill>
                  <a:schemeClr val="accent1"/>
                </a:solidFill>
                <a:latin typeface="Inter" panose="02000503000000020004" pitchFamily="2" charset="0"/>
                <a:ea typeface="Inter" panose="02000503000000020004" pitchFamily="2" charset="0"/>
                <a:cs typeface="Arial" panose="020B0604020202020204" pitchFamily="34" charset="0"/>
              </a:rPr>
              <a:t>@</a:t>
            </a:r>
            <a:r>
              <a:rPr lang="en-GB" sz="1400" b="0" i="0" err="1">
                <a:solidFill>
                  <a:schemeClr val="accent1"/>
                </a:solidFill>
                <a:latin typeface="Inter" panose="02000503000000020004" pitchFamily="2" charset="0"/>
                <a:ea typeface="Inter" panose="02000503000000020004" pitchFamily="2" charset="0"/>
                <a:cs typeface="Arial" panose="020B0604020202020204" pitchFamily="34" charset="0"/>
              </a:rPr>
              <a:t>TeesValleyCA</a:t>
            </a:r>
            <a:endParaRPr lang="en-GB" sz="1400" b="0" i="0">
              <a:solidFill>
                <a:schemeClr val="accent1"/>
              </a:solidFill>
              <a:latin typeface="Inter" panose="02000503000000020004" pitchFamily="2"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428070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7100C9-EDC1-BF40-803E-2333378886CE}"/>
              </a:ext>
            </a:extLst>
          </p:cNvPr>
          <p:cNvSpPr>
            <a:spLocks noGrp="1"/>
          </p:cNvSpPr>
          <p:nvPr>
            <p:ph type="body" sz="quarter" idx="10" hasCustomPrompt="1"/>
          </p:nvPr>
        </p:nvSpPr>
        <p:spPr>
          <a:xfrm>
            <a:off x="2997482" y="2105268"/>
            <a:ext cx="6203950" cy="1890999"/>
          </a:xfrm>
          <a:prstGeom prst="rect">
            <a:avLst/>
          </a:prstGeom>
        </p:spPr>
        <p:txBody>
          <a:bodyPr anchor="ctr"/>
          <a:lstStyle>
            <a:lvl1pPr marL="0" indent="0" algn="ctr">
              <a:buNone/>
              <a:defRPr sz="6000">
                <a:solidFill>
                  <a:schemeClr val="bg1"/>
                </a:solidFill>
                <a:latin typeface="Arial" panose="020B0604020202020204" pitchFamily="34" charset="0"/>
                <a:cs typeface="Arial" panose="020B0604020202020204" pitchFamily="34" charset="0"/>
              </a:defRPr>
            </a:lvl1pPr>
          </a:lstStyle>
          <a:p>
            <a:pPr lvl="0"/>
            <a:r>
              <a:rPr lang="en-US"/>
              <a:t>INSERT</a:t>
            </a:r>
            <a:br>
              <a:rPr lang="en-US"/>
            </a:br>
            <a:r>
              <a:rPr lang="en-US"/>
              <a:t>TITLE HERE</a:t>
            </a:r>
          </a:p>
        </p:txBody>
      </p:sp>
      <p:sp>
        <p:nvSpPr>
          <p:cNvPr id="13" name="Text Placeholder 10">
            <a:extLst>
              <a:ext uri="{FF2B5EF4-FFF2-40B4-BE49-F238E27FC236}">
                <a16:creationId xmlns:a16="http://schemas.microsoft.com/office/drawing/2014/main" id="{51AD8F94-5017-434D-AEC4-6D8A3A547993}"/>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Arial" panose="020B0604020202020204" pitchFamily="34" charset="0"/>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35505007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lt">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7100C9-EDC1-BF40-803E-2333378886CE}"/>
              </a:ext>
            </a:extLst>
          </p:cNvPr>
          <p:cNvSpPr>
            <a:spLocks noGrp="1"/>
          </p:cNvSpPr>
          <p:nvPr>
            <p:ph type="body" sz="quarter" idx="10" hasCustomPrompt="1"/>
          </p:nvPr>
        </p:nvSpPr>
        <p:spPr>
          <a:xfrm>
            <a:off x="320543" y="1349894"/>
            <a:ext cx="6203950" cy="1890999"/>
          </a:xfrm>
          <a:prstGeom prst="rect">
            <a:avLst/>
          </a:prstGeom>
        </p:spPr>
        <p:txBody>
          <a:bodyPr anchor="ctr"/>
          <a:lstStyle>
            <a:lvl1pPr marL="0" indent="0" algn="l">
              <a:buNone/>
              <a:defRPr sz="6000">
                <a:solidFill>
                  <a:schemeClr val="bg1"/>
                </a:solidFill>
                <a:latin typeface="Arial" panose="020B0604020202020204" pitchFamily="34" charset="0"/>
                <a:cs typeface="Arial" panose="020B0604020202020204" pitchFamily="34" charset="0"/>
              </a:defRPr>
            </a:lvl1pPr>
          </a:lstStyle>
          <a:p>
            <a:pPr lvl="0"/>
            <a:r>
              <a:rPr lang="en-US"/>
              <a:t>INSERT</a:t>
            </a:r>
            <a:br>
              <a:rPr lang="en-US"/>
            </a:br>
            <a:r>
              <a:rPr lang="en-US"/>
              <a:t>TITLE HERE</a:t>
            </a:r>
          </a:p>
        </p:txBody>
      </p:sp>
      <p:sp>
        <p:nvSpPr>
          <p:cNvPr id="13" name="Text Placeholder 10">
            <a:extLst>
              <a:ext uri="{FF2B5EF4-FFF2-40B4-BE49-F238E27FC236}">
                <a16:creationId xmlns:a16="http://schemas.microsoft.com/office/drawing/2014/main" id="{51AD8F94-5017-434D-AEC4-6D8A3A547993}"/>
              </a:ext>
            </a:extLst>
          </p:cNvPr>
          <p:cNvSpPr>
            <a:spLocks noGrp="1"/>
          </p:cNvSpPr>
          <p:nvPr>
            <p:ph type="body" sz="quarter" idx="11" hasCustomPrompt="1"/>
          </p:nvPr>
        </p:nvSpPr>
        <p:spPr>
          <a:xfrm>
            <a:off x="320543" y="6184262"/>
            <a:ext cx="6203950" cy="337293"/>
          </a:xfrm>
          <a:prstGeom prst="rect">
            <a:avLst/>
          </a:prstGeom>
        </p:spPr>
        <p:txBody>
          <a:bodyPr anchor="ctr"/>
          <a:lstStyle>
            <a:lvl1pPr marL="0" indent="0" algn="l">
              <a:buNone/>
              <a:defRPr sz="1600">
                <a:solidFill>
                  <a:schemeClr val="bg1"/>
                </a:solidFill>
                <a:latin typeface="Arial" panose="020B0604020202020204" pitchFamily="34" charset="0"/>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29554179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FF32527-99F6-2342-8E33-882CD3C511A4}"/>
              </a:ext>
            </a:extLst>
          </p:cNvPr>
          <p:cNvSpPr>
            <a:spLocks noGrp="1"/>
          </p:cNvSpPr>
          <p:nvPr>
            <p:ph type="body" sz="quarter" idx="10" hasCustomPrompt="1"/>
          </p:nvPr>
        </p:nvSpPr>
        <p:spPr>
          <a:xfrm>
            <a:off x="2997482" y="2138049"/>
            <a:ext cx="6203950" cy="1933154"/>
          </a:xfrm>
          <a:prstGeom prst="rect">
            <a:avLst/>
          </a:prstGeom>
        </p:spPr>
        <p:txBody>
          <a:bodyPr anchor="ctr"/>
          <a:lstStyle>
            <a:lvl1pPr marL="0" indent="0" algn="ctr">
              <a:buNone/>
              <a:defRPr sz="5400">
                <a:solidFill>
                  <a:schemeClr val="bg1"/>
                </a:solidFill>
                <a:latin typeface="Arial" panose="020B0604020202020204" pitchFamily="34" charset="0"/>
                <a:cs typeface="Arial" panose="020B0604020202020204" pitchFamily="34" charset="0"/>
              </a:defRPr>
            </a:lvl1pPr>
          </a:lstStyle>
          <a:p>
            <a:pPr lvl="0"/>
            <a:r>
              <a:rPr lang="en-US"/>
              <a:t>INSERT SECTION</a:t>
            </a:r>
            <a:br>
              <a:rPr lang="en-US"/>
            </a:br>
            <a:r>
              <a:rPr lang="en-US"/>
              <a:t>TITLE HERE</a:t>
            </a:r>
          </a:p>
        </p:txBody>
      </p:sp>
      <p:sp>
        <p:nvSpPr>
          <p:cNvPr id="3" name="Text Placeholder 10">
            <a:extLst>
              <a:ext uri="{FF2B5EF4-FFF2-40B4-BE49-F238E27FC236}">
                <a16:creationId xmlns:a16="http://schemas.microsoft.com/office/drawing/2014/main" id="{470AEB01-27DF-384A-B2CA-C57A4CAF7784}"/>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Arial" panose="020B0604020202020204" pitchFamily="34" charset="0"/>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2686809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rgundy - Text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Text Placeholder 14">
            <a:extLst>
              <a:ext uri="{FF2B5EF4-FFF2-40B4-BE49-F238E27FC236}">
                <a16:creationId xmlns:a16="http://schemas.microsoft.com/office/drawing/2014/main" id="{2753B3FA-7265-D437-C98A-93D7E4120832}"/>
              </a:ext>
            </a:extLst>
          </p:cNvPr>
          <p:cNvSpPr>
            <a:spLocks noGrp="1"/>
          </p:cNvSpPr>
          <p:nvPr>
            <p:ph type="body" sz="quarter" idx="10"/>
          </p:nvPr>
        </p:nvSpPr>
        <p:spPr>
          <a:xfrm>
            <a:off x="333375" y="1276425"/>
            <a:ext cx="11486416" cy="3306762"/>
          </a:xfrm>
          <a:prstGeom prst="rect">
            <a:avLst/>
          </a:prstGeom>
        </p:spPr>
        <p:txBody>
          <a:bodyPr/>
          <a:lstStyle>
            <a:lvl1pPr marL="0" indent="0">
              <a:buNone/>
              <a:defRPr sz="2000" b="0" i="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Title 8">
            <a:extLst>
              <a:ext uri="{FF2B5EF4-FFF2-40B4-BE49-F238E27FC236}">
                <a16:creationId xmlns:a16="http://schemas.microsoft.com/office/drawing/2014/main" id="{35A131FC-8B56-9A0B-3CF2-69B90DE12AD0}"/>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Tree>
    <p:extLst>
      <p:ext uri="{BB962C8B-B14F-4D97-AF65-F5344CB8AC3E}">
        <p14:creationId xmlns:p14="http://schemas.microsoft.com/office/powerpoint/2010/main" val="25588116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chemeClr val="bg1"/>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p:nvPr>
        </p:nvSpPr>
        <p:spPr>
          <a:xfrm>
            <a:off x="245574" y="289535"/>
            <a:ext cx="6753225" cy="518868"/>
          </a:xfrm>
          <a:prstGeom prst="rect">
            <a:avLst/>
          </a:prstGeom>
        </p:spPr>
        <p:txBody>
          <a:bodyPr/>
          <a:lstStyle>
            <a:lvl1pPr marL="0" indent="0">
              <a:buNone/>
              <a:defRPr sz="3200">
                <a:solidFill>
                  <a:schemeClr val="bg1"/>
                </a:solidFill>
                <a:latin typeface="Arial" panose="020B0604020202020204" pitchFamily="34" charset="0"/>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18134448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rgbClr val="0F0A30"/>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p:nvPr>
        </p:nvSpPr>
        <p:spPr>
          <a:xfrm>
            <a:off x="245574" y="289535"/>
            <a:ext cx="6753225" cy="518868"/>
          </a:xfrm>
          <a:prstGeom prst="rect">
            <a:avLst/>
          </a:prstGeom>
        </p:spPr>
        <p:txBody>
          <a:bodyPr/>
          <a:lstStyle>
            <a:lvl1pPr marL="0" indent="0">
              <a:buNone/>
              <a:defRPr sz="3200">
                <a:solidFill>
                  <a:srgbClr val="0F0A30"/>
                </a:solidFill>
                <a:latin typeface="Arial" panose="020B0604020202020204" pitchFamily="34" charset="0"/>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0" indent="0">
              <a:buNone/>
              <a:defRPr sz="1800">
                <a:solidFill>
                  <a:srgbClr val="0F0A30"/>
                </a:solidFill>
                <a:latin typeface="Arial" panose="020B0604020202020204" pitchFamily="34"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20598474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7100C9-EDC1-BF40-803E-2333378886CE}"/>
              </a:ext>
            </a:extLst>
          </p:cNvPr>
          <p:cNvSpPr>
            <a:spLocks noGrp="1"/>
          </p:cNvSpPr>
          <p:nvPr>
            <p:ph type="body" sz="quarter" idx="10" hasCustomPrompt="1"/>
          </p:nvPr>
        </p:nvSpPr>
        <p:spPr>
          <a:xfrm>
            <a:off x="2997482" y="2105268"/>
            <a:ext cx="6203950" cy="1890999"/>
          </a:xfrm>
          <a:prstGeom prst="rect">
            <a:avLst/>
          </a:prstGeom>
        </p:spPr>
        <p:txBody>
          <a:bodyPr anchor="ctr"/>
          <a:lstStyle>
            <a:lvl1pPr marL="0" indent="0" algn="ctr">
              <a:buNone/>
              <a:defRPr sz="6000">
                <a:solidFill>
                  <a:schemeClr val="bg1"/>
                </a:solidFill>
                <a:latin typeface="Torque Book" panose="020B0503030202050203" pitchFamily="34" charset="77"/>
                <a:cs typeface="Arial" panose="020B0604020202020204" pitchFamily="34" charset="0"/>
              </a:defRPr>
            </a:lvl1pPr>
          </a:lstStyle>
          <a:p>
            <a:pPr lvl="0"/>
            <a:r>
              <a:rPr lang="en-US"/>
              <a:t>INSERT</a:t>
            </a:r>
            <a:br>
              <a:rPr lang="en-US"/>
            </a:br>
            <a:r>
              <a:rPr lang="en-US"/>
              <a:t>TITLE HERE</a:t>
            </a:r>
          </a:p>
        </p:txBody>
      </p:sp>
      <p:sp>
        <p:nvSpPr>
          <p:cNvPr id="13" name="Text Placeholder 10">
            <a:extLst>
              <a:ext uri="{FF2B5EF4-FFF2-40B4-BE49-F238E27FC236}">
                <a16:creationId xmlns:a16="http://schemas.microsoft.com/office/drawing/2014/main" id="{51AD8F94-5017-434D-AEC4-6D8A3A547993}"/>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Torque Book" panose="020B0503030202050203" pitchFamily="34" charset="77"/>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13674288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FF32527-99F6-2342-8E33-882CD3C511A4}"/>
              </a:ext>
            </a:extLst>
          </p:cNvPr>
          <p:cNvSpPr>
            <a:spLocks noGrp="1"/>
          </p:cNvSpPr>
          <p:nvPr>
            <p:ph type="body" sz="quarter" idx="10" hasCustomPrompt="1"/>
          </p:nvPr>
        </p:nvSpPr>
        <p:spPr>
          <a:xfrm>
            <a:off x="2997482" y="2138049"/>
            <a:ext cx="6203950" cy="1933154"/>
          </a:xfrm>
          <a:prstGeom prst="rect">
            <a:avLst/>
          </a:prstGeom>
        </p:spPr>
        <p:txBody>
          <a:bodyPr anchor="ctr"/>
          <a:lstStyle>
            <a:lvl1pPr marL="0" indent="0" algn="ctr">
              <a:buNone/>
              <a:defRPr sz="5400">
                <a:solidFill>
                  <a:schemeClr val="bg1"/>
                </a:solidFill>
                <a:latin typeface="Torque Book" panose="020B0503030202050203" pitchFamily="34" charset="77"/>
                <a:cs typeface="Arial" panose="020B0604020202020204" pitchFamily="34" charset="0"/>
              </a:defRPr>
            </a:lvl1pPr>
          </a:lstStyle>
          <a:p>
            <a:pPr lvl="0"/>
            <a:r>
              <a:rPr lang="en-US"/>
              <a:t>INSERT SECTION</a:t>
            </a:r>
            <a:br>
              <a:rPr lang="en-US"/>
            </a:br>
            <a:r>
              <a:rPr lang="en-US"/>
              <a:t>TITLE HERE</a:t>
            </a:r>
          </a:p>
        </p:txBody>
      </p:sp>
      <p:sp>
        <p:nvSpPr>
          <p:cNvPr id="3" name="Text Placeholder 10">
            <a:extLst>
              <a:ext uri="{FF2B5EF4-FFF2-40B4-BE49-F238E27FC236}">
                <a16:creationId xmlns:a16="http://schemas.microsoft.com/office/drawing/2014/main" id="{470AEB01-27DF-384A-B2CA-C57A4CAF7784}"/>
              </a:ext>
            </a:extLst>
          </p:cNvPr>
          <p:cNvSpPr>
            <a:spLocks noGrp="1"/>
          </p:cNvSpPr>
          <p:nvPr>
            <p:ph type="body" sz="quarter" idx="11" hasCustomPrompt="1"/>
          </p:nvPr>
        </p:nvSpPr>
        <p:spPr>
          <a:xfrm>
            <a:off x="2997482" y="6169308"/>
            <a:ext cx="6203950" cy="337293"/>
          </a:xfrm>
          <a:prstGeom prst="rect">
            <a:avLst/>
          </a:prstGeom>
        </p:spPr>
        <p:txBody>
          <a:bodyPr anchor="ctr"/>
          <a:lstStyle>
            <a:lvl1pPr marL="0" indent="0" algn="ctr">
              <a:buNone/>
              <a:defRPr sz="1600">
                <a:solidFill>
                  <a:schemeClr val="bg1"/>
                </a:solidFill>
                <a:latin typeface="Torque Book" panose="020B0503030202050203" pitchFamily="34" charset="77"/>
                <a:cs typeface="Arial" panose="020B0604020202020204" pitchFamily="34" charset="0"/>
              </a:defRPr>
            </a:lvl1pPr>
          </a:lstStyle>
          <a:p>
            <a:pPr lvl="0"/>
            <a:r>
              <a:rPr lang="en-US" err="1"/>
              <a:t>www.teesworks.co.uk</a:t>
            </a:r>
            <a:endParaRPr lang="en-US"/>
          </a:p>
        </p:txBody>
      </p:sp>
    </p:spTree>
    <p:extLst>
      <p:ext uri="{BB962C8B-B14F-4D97-AF65-F5344CB8AC3E}">
        <p14:creationId xmlns:p14="http://schemas.microsoft.com/office/powerpoint/2010/main" val="3168428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0F0A30"/>
        </a:solidFill>
        <a:effectLst/>
      </p:bgPr>
    </p:bg>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470AEB01-27DF-384A-B2CA-C57A4CAF7784}"/>
              </a:ext>
            </a:extLst>
          </p:cNvPr>
          <p:cNvSpPr>
            <a:spLocks noGrp="1"/>
          </p:cNvSpPr>
          <p:nvPr>
            <p:ph type="body" sz="quarter" idx="11" hasCustomPrompt="1"/>
          </p:nvPr>
        </p:nvSpPr>
        <p:spPr>
          <a:xfrm>
            <a:off x="702734" y="6169308"/>
            <a:ext cx="6203950" cy="337293"/>
          </a:xfrm>
          <a:prstGeom prst="rect">
            <a:avLst/>
          </a:prstGeom>
        </p:spPr>
        <p:txBody>
          <a:bodyPr anchor="ctr"/>
          <a:lstStyle>
            <a:lvl1pPr marL="0" indent="0" algn="l">
              <a:buNone/>
              <a:defRPr sz="1600">
                <a:solidFill>
                  <a:schemeClr val="bg1"/>
                </a:solidFill>
                <a:latin typeface="Torque Book" panose="020B0503030202050203" pitchFamily="34" charset="77"/>
                <a:cs typeface="Arial" panose="020B0604020202020204" pitchFamily="34" charset="0"/>
              </a:defRPr>
            </a:lvl1pPr>
          </a:lstStyle>
          <a:p>
            <a:pPr lvl="0"/>
            <a:r>
              <a:rPr lang="en-US" err="1"/>
              <a:t>www.teesworks.co.uk</a:t>
            </a:r>
            <a:endParaRPr lang="en-US"/>
          </a:p>
        </p:txBody>
      </p:sp>
      <p:sp>
        <p:nvSpPr>
          <p:cNvPr id="6" name="Title 5">
            <a:extLst>
              <a:ext uri="{FF2B5EF4-FFF2-40B4-BE49-F238E27FC236}">
                <a16:creationId xmlns:a16="http://schemas.microsoft.com/office/drawing/2014/main" id="{92D06468-9E51-AC4E-AAEE-012FE217C2C3}"/>
              </a:ext>
            </a:extLst>
          </p:cNvPr>
          <p:cNvSpPr>
            <a:spLocks noGrp="1"/>
          </p:cNvSpPr>
          <p:nvPr>
            <p:ph type="title" hasCustomPrompt="1"/>
          </p:nvPr>
        </p:nvSpPr>
        <p:spPr>
          <a:xfrm>
            <a:off x="702734" y="2073451"/>
            <a:ext cx="5302955" cy="1325563"/>
          </a:xfrm>
          <a:prstGeom prst="rect">
            <a:avLst/>
          </a:prstGeom>
        </p:spPr>
        <p:txBody>
          <a:bodyPr/>
          <a:lstStyle>
            <a:lvl1pPr marL="0" indent="0">
              <a:lnSpc>
                <a:spcPts val="5200"/>
              </a:lnSpc>
              <a:buNone/>
              <a:defRPr/>
            </a:lvl1pPr>
          </a:lstStyle>
          <a:p>
            <a:pPr marL="0" indent="0">
              <a:lnSpc>
                <a:spcPts val="5200"/>
              </a:lnSpc>
              <a:buNone/>
            </a:pPr>
            <a:r>
              <a:rPr lang="en-GB" sz="4400" spc="50">
                <a:solidFill>
                  <a:schemeClr val="bg1"/>
                </a:solidFill>
                <a:latin typeface="Torque Book" panose="020B0503030202050203" pitchFamily="34" charset="77"/>
              </a:rPr>
              <a:t>THE UK’S LARGEST</a:t>
            </a:r>
            <a:br>
              <a:rPr lang="en-GB" sz="4400" spc="50">
                <a:solidFill>
                  <a:schemeClr val="bg1"/>
                </a:solidFill>
                <a:latin typeface="Torque Book" panose="020B0503030202050203" pitchFamily="34" charset="77"/>
              </a:rPr>
            </a:br>
            <a:r>
              <a:rPr lang="en-GB" sz="4400" spc="50">
                <a:solidFill>
                  <a:schemeClr val="bg1"/>
                </a:solidFill>
                <a:latin typeface="Torque Book" panose="020B0503030202050203" pitchFamily="34" charset="77"/>
              </a:rPr>
              <a:t>INDUSTRIAL ZONE</a:t>
            </a:r>
          </a:p>
        </p:txBody>
      </p:sp>
    </p:spTree>
    <p:extLst>
      <p:ext uri="{BB962C8B-B14F-4D97-AF65-F5344CB8AC3E}">
        <p14:creationId xmlns:p14="http://schemas.microsoft.com/office/powerpoint/2010/main" val="41064288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chemeClr val="bg1"/>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hasCustomPrompt="1"/>
          </p:nvPr>
        </p:nvSpPr>
        <p:spPr>
          <a:xfrm>
            <a:off x="245574" y="289535"/>
            <a:ext cx="6753225" cy="518868"/>
          </a:xfrm>
          <a:prstGeom prst="rect">
            <a:avLst/>
          </a:prstGeom>
        </p:spPr>
        <p:txBody>
          <a:bodyPr/>
          <a:lstStyle>
            <a:lvl1pPr marL="0" indent="0">
              <a:buNone/>
              <a:defRPr sz="3400">
                <a:solidFill>
                  <a:schemeClr val="bg1"/>
                </a:solidFill>
                <a:latin typeface="Torque Book" panose="020B0503030202050203" pitchFamily="34" charset="77"/>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4" y="1321166"/>
            <a:ext cx="5850426" cy="4710270"/>
          </a:xfrm>
          <a:prstGeom prst="rect">
            <a:avLst/>
          </a:prstGeom>
        </p:spPr>
        <p:txBody>
          <a:bodyPr/>
          <a:lstStyle>
            <a:lvl1pPr marL="0" indent="0">
              <a:buNone/>
              <a:defRPr sz="1800" b="0" i="0">
                <a:solidFill>
                  <a:schemeClr val="bg1"/>
                </a:solidFill>
                <a:latin typeface="Neurial Grotesk Light" pitchFamily="2" charset="0"/>
                <a:cs typeface="Arial" panose="020B0604020202020204" pitchFamily="34" charset="0"/>
              </a:defRPr>
            </a:lvl1pPr>
          </a:lstStyle>
          <a:p>
            <a:pPr lvl="0"/>
            <a:r>
              <a:rPr lang="en-US"/>
              <a:t>Insert body…</a:t>
            </a:r>
          </a:p>
        </p:txBody>
      </p:sp>
      <p:sp>
        <p:nvSpPr>
          <p:cNvPr id="8" name="Text Placeholder 4">
            <a:extLst>
              <a:ext uri="{FF2B5EF4-FFF2-40B4-BE49-F238E27FC236}">
                <a16:creationId xmlns:a16="http://schemas.microsoft.com/office/drawing/2014/main" id="{527C11A4-EBCA-4F9A-BF2D-824D46A0A73C}"/>
              </a:ext>
            </a:extLst>
          </p:cNvPr>
          <p:cNvSpPr>
            <a:spLocks noGrp="1"/>
          </p:cNvSpPr>
          <p:nvPr>
            <p:ph type="body" sz="quarter" idx="15" hasCustomPrompt="1"/>
          </p:nvPr>
        </p:nvSpPr>
        <p:spPr>
          <a:xfrm>
            <a:off x="6794270" y="1321166"/>
            <a:ext cx="5083172" cy="4710270"/>
          </a:xfrm>
          <a:prstGeom prst="rect">
            <a:avLst/>
          </a:prstGeom>
        </p:spPr>
        <p:txBody>
          <a:bodyPr/>
          <a:lstStyle>
            <a:lvl1pPr marL="0" indent="0">
              <a:buNone/>
              <a:defRPr sz="1800" b="0" i="0">
                <a:solidFill>
                  <a:schemeClr val="bg1"/>
                </a:solidFill>
                <a:latin typeface="Neurial Grotesk Light" pitchFamily="2"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863844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rgbClr val="0F0A30"/>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hasCustomPrompt="1"/>
          </p:nvPr>
        </p:nvSpPr>
        <p:spPr>
          <a:xfrm>
            <a:off x="245574" y="289535"/>
            <a:ext cx="6753225" cy="518868"/>
          </a:xfrm>
          <a:prstGeom prst="rect">
            <a:avLst/>
          </a:prstGeom>
        </p:spPr>
        <p:txBody>
          <a:bodyPr/>
          <a:lstStyle>
            <a:lvl1pPr marL="0" indent="0">
              <a:buNone/>
              <a:defRPr sz="3400">
                <a:solidFill>
                  <a:srgbClr val="0F0A30"/>
                </a:solidFill>
                <a:latin typeface="Torque Book" panose="020B0503030202050203" pitchFamily="34" charset="77"/>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0" indent="0">
              <a:buNone/>
              <a:defRPr sz="1800" b="0" i="0">
                <a:solidFill>
                  <a:srgbClr val="0F0A30"/>
                </a:solidFill>
                <a:latin typeface="Neurial Grotesk Light" pitchFamily="2"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32682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15AD3EC-F687-0949-AAA8-7EF351802375}"/>
              </a:ext>
            </a:extLst>
          </p:cNvPr>
          <p:cNvSpPr>
            <a:spLocks noGrp="1"/>
          </p:cNvSpPr>
          <p:nvPr>
            <p:ph type="sldNum" sz="quarter" idx="12"/>
          </p:nvPr>
        </p:nvSpPr>
        <p:spPr>
          <a:xfrm>
            <a:off x="9217269" y="6321180"/>
            <a:ext cx="2743200" cy="365125"/>
          </a:xfrm>
          <a:prstGeom prst="rect">
            <a:avLst/>
          </a:prstGeom>
        </p:spPr>
        <p:txBody>
          <a:bodyPr/>
          <a:lstStyle>
            <a:lvl1pPr algn="r">
              <a:defRPr sz="1600">
                <a:solidFill>
                  <a:schemeClr val="bg1"/>
                </a:solidFill>
                <a:latin typeface="Arial" panose="020B0604020202020204" pitchFamily="34" charset="0"/>
                <a:cs typeface="Arial" panose="020B0604020202020204" pitchFamily="34" charset="0"/>
              </a:defRPr>
            </a:lvl1pPr>
          </a:lstStyle>
          <a:p>
            <a:fld id="{AFB006AD-4553-174D-AE09-74C93EDDCAB5}" type="slidenum">
              <a:rPr lang="en-US" smtClean="0"/>
              <a:pPr/>
              <a:t>‹#›</a:t>
            </a:fld>
            <a:endParaRPr lang="en-US"/>
          </a:p>
        </p:txBody>
      </p:sp>
      <p:sp>
        <p:nvSpPr>
          <p:cNvPr id="5" name="Text Placeholder 4">
            <a:extLst>
              <a:ext uri="{FF2B5EF4-FFF2-40B4-BE49-F238E27FC236}">
                <a16:creationId xmlns:a16="http://schemas.microsoft.com/office/drawing/2014/main" id="{5131A649-A9AA-FE48-B96E-4D2AE656A4F7}"/>
              </a:ext>
            </a:extLst>
          </p:cNvPr>
          <p:cNvSpPr>
            <a:spLocks noGrp="1"/>
          </p:cNvSpPr>
          <p:nvPr>
            <p:ph type="body" sz="quarter" idx="13" hasCustomPrompt="1"/>
          </p:nvPr>
        </p:nvSpPr>
        <p:spPr>
          <a:xfrm>
            <a:off x="245574" y="289535"/>
            <a:ext cx="6753225" cy="518868"/>
          </a:xfrm>
          <a:prstGeom prst="rect">
            <a:avLst/>
          </a:prstGeom>
        </p:spPr>
        <p:txBody>
          <a:bodyPr/>
          <a:lstStyle>
            <a:lvl1pPr marL="0" indent="0">
              <a:buNone/>
              <a:defRPr sz="3400">
                <a:solidFill>
                  <a:schemeClr val="bg1"/>
                </a:solidFill>
                <a:latin typeface="Torque Book" panose="020B0503030202050203" pitchFamily="34" charset="77"/>
                <a:cs typeface="Arial" panose="020B0604020202020204" pitchFamily="34" charset="0"/>
              </a:defRPr>
            </a:lvl1pPr>
          </a:lstStyle>
          <a:p>
            <a:pPr lvl="0"/>
            <a:r>
              <a:rPr lang="en-US"/>
              <a:t>INSERT SLIDE TITLE</a:t>
            </a:r>
          </a:p>
        </p:txBody>
      </p:sp>
      <p:sp>
        <p:nvSpPr>
          <p:cNvPr id="7" name="Text Placeholder 4">
            <a:extLst>
              <a:ext uri="{FF2B5EF4-FFF2-40B4-BE49-F238E27FC236}">
                <a16:creationId xmlns:a16="http://schemas.microsoft.com/office/drawing/2014/main" id="{D64DFC39-A801-0B41-B9BA-AE6369CEBDBD}"/>
              </a:ext>
            </a:extLst>
          </p:cNvPr>
          <p:cNvSpPr>
            <a:spLocks noGrp="1"/>
          </p:cNvSpPr>
          <p:nvPr>
            <p:ph type="body" sz="quarter" idx="14" hasCustomPrompt="1"/>
          </p:nvPr>
        </p:nvSpPr>
        <p:spPr>
          <a:xfrm>
            <a:off x="245573" y="1321166"/>
            <a:ext cx="6753225" cy="518868"/>
          </a:xfrm>
          <a:prstGeom prst="rect">
            <a:avLst/>
          </a:prstGeom>
        </p:spPr>
        <p:txBody>
          <a:bodyPr/>
          <a:lstStyle>
            <a:lvl1pPr marL="285750" indent="-285750">
              <a:lnSpc>
                <a:spcPct val="150000"/>
              </a:lnSpc>
              <a:spcBef>
                <a:spcPts val="0"/>
              </a:spcBef>
              <a:buClr>
                <a:srgbClr val="00BDE2"/>
              </a:buClr>
              <a:buFont typeface="Wingdings" pitchFamily="2" charset="2"/>
              <a:buChar char="§"/>
              <a:defRPr sz="1800" b="0" i="0">
                <a:solidFill>
                  <a:schemeClr val="bg1"/>
                </a:solidFill>
                <a:latin typeface="Neurial Grotesk Light" pitchFamily="2" charset="0"/>
                <a:cs typeface="Arial" panose="020B0604020202020204" pitchFamily="34" charset="0"/>
              </a:defRPr>
            </a:lvl1pPr>
          </a:lstStyle>
          <a:p>
            <a:pPr lvl="0"/>
            <a:r>
              <a:rPr lang="en-US"/>
              <a:t>Insert body…</a:t>
            </a:r>
          </a:p>
        </p:txBody>
      </p:sp>
    </p:spTree>
    <p:extLst>
      <p:ext uri="{BB962C8B-B14F-4D97-AF65-F5344CB8AC3E}">
        <p14:creationId xmlns:p14="http://schemas.microsoft.com/office/powerpoint/2010/main" val="1259915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XPRESSIVE 10">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39AE97F-08C5-11B1-2EB1-1DFA5E2361CD}"/>
              </a:ext>
            </a:extLst>
          </p:cNvPr>
          <p:cNvSpPr/>
          <p:nvPr userDrawn="1"/>
        </p:nvSpPr>
        <p:spPr>
          <a:xfrm>
            <a:off x="6286501" y="0"/>
            <a:ext cx="5905362" cy="68579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BT Curve" panose="020B0503020203020204" pitchFamily="34" charset="0"/>
            </a:endParaRPr>
          </a:p>
        </p:txBody>
      </p:sp>
      <p:sp>
        <p:nvSpPr>
          <p:cNvPr id="19" name="Title 15">
            <a:extLst>
              <a:ext uri="{FF2B5EF4-FFF2-40B4-BE49-F238E27FC236}">
                <a16:creationId xmlns:a16="http://schemas.microsoft.com/office/drawing/2014/main" id="{FF872486-6E5F-4A93-BF59-FE96F2959969}"/>
              </a:ext>
            </a:extLst>
          </p:cNvPr>
          <p:cNvSpPr>
            <a:spLocks noGrp="1"/>
          </p:cNvSpPr>
          <p:nvPr>
            <p:ph type="title" hasCustomPrompt="1"/>
          </p:nvPr>
        </p:nvSpPr>
        <p:spPr>
          <a:xfrm>
            <a:off x="6651812" y="1739943"/>
            <a:ext cx="5232213" cy="1845939"/>
          </a:xfrm>
          <a:prstGeom prst="rect">
            <a:avLst/>
          </a:prstGeom>
        </p:spPr>
        <p:txBody>
          <a:bodyPr lIns="0" tIns="0" rIns="0" bIns="0" anchor="b">
            <a:noAutofit/>
          </a:bodyPr>
          <a:lstStyle>
            <a:lvl1pPr>
              <a:defRPr kumimoji="0" lang="en-US" sz="4800" b="0" i="0" u="none" strike="noStrike" kern="0" cap="none" spc="-52" normalizeH="0" baseline="0" smtClean="0">
                <a:ln>
                  <a:noFill/>
                </a:ln>
                <a:solidFill>
                  <a:schemeClr val="tx1"/>
                </a:solidFill>
                <a:effectLst/>
                <a:uLnTx/>
                <a:uFillTx/>
                <a:latin typeface="BT Group Headline" panose="020B0603020203020204" pitchFamily="34" charset="0"/>
                <a:ea typeface="+mj-ea"/>
                <a:cs typeface="BT Group Headline" panose="020B0603020203020204" pitchFamily="34" charset="0"/>
              </a:defRPr>
            </a:lvl1pPr>
          </a:lstStyle>
          <a:p>
            <a:r>
              <a:rPr lang="en-US"/>
              <a:t>Click to edit expressive CFU slide</a:t>
            </a:r>
            <a:endParaRPr lang="en-GB"/>
          </a:p>
        </p:txBody>
      </p:sp>
      <p:sp>
        <p:nvSpPr>
          <p:cNvPr id="14" name="Text Placeholder 17">
            <a:extLst>
              <a:ext uri="{FF2B5EF4-FFF2-40B4-BE49-F238E27FC236}">
                <a16:creationId xmlns:a16="http://schemas.microsoft.com/office/drawing/2014/main" id="{D297E749-5185-33FF-FF10-01F1E3B75626}"/>
              </a:ext>
            </a:extLst>
          </p:cNvPr>
          <p:cNvSpPr>
            <a:spLocks noGrp="1"/>
          </p:cNvSpPr>
          <p:nvPr>
            <p:ph type="body" sz="quarter" idx="10" hasCustomPrompt="1"/>
          </p:nvPr>
        </p:nvSpPr>
        <p:spPr>
          <a:xfrm>
            <a:off x="6651812" y="3789343"/>
            <a:ext cx="4469579" cy="1536482"/>
          </a:xfrm>
          <a:prstGeom prst="rect">
            <a:avLst/>
          </a:prstGeom>
        </p:spPr>
        <p:txBody>
          <a:bodyPr vert="horz" lIns="0" tIns="0" rIns="0" bIns="0" rtlCol="0">
            <a:noAutofit/>
          </a:bodyPr>
          <a:lstStyle>
            <a:lvl1pPr>
              <a:defRPr lang="en-US" sz="2000" dirty="0">
                <a:solidFill>
                  <a:schemeClr val="tx1"/>
                </a:solidFill>
                <a:latin typeface="+mj-lt"/>
              </a:defRPr>
            </a:lvl1pPr>
          </a:lstStyle>
          <a:p>
            <a:pPr lvl="0"/>
            <a:r>
              <a:rPr lang="en-US"/>
              <a:t>Click to enter sub heading.</a:t>
            </a:r>
          </a:p>
        </p:txBody>
      </p:sp>
      <p:sp>
        <p:nvSpPr>
          <p:cNvPr id="16" name="Slide Number Placeholder 5">
            <a:extLst>
              <a:ext uri="{FF2B5EF4-FFF2-40B4-BE49-F238E27FC236}">
                <a16:creationId xmlns:a16="http://schemas.microsoft.com/office/drawing/2014/main" id="{825FFF86-B77C-3A4F-0984-15E562057689}"/>
              </a:ext>
            </a:extLst>
          </p:cNvPr>
          <p:cNvSpPr>
            <a:spLocks noGrp="1"/>
          </p:cNvSpPr>
          <p:nvPr>
            <p:ph type="sldNum" sz="quarter" idx="12"/>
          </p:nvPr>
        </p:nvSpPr>
        <p:spPr>
          <a:xfrm>
            <a:off x="11733529" y="308926"/>
            <a:ext cx="365126" cy="203835"/>
          </a:xfrm>
        </p:spPr>
        <p:txBody>
          <a:bodyPr/>
          <a:lstStyle>
            <a:lvl1pPr>
              <a:defRPr b="0" i="0">
                <a:solidFill>
                  <a:schemeClr val="tx1"/>
                </a:solidFill>
                <a:latin typeface="BT Curve" panose="020B0503020203020204" pitchFamily="34" charset="0"/>
              </a:defRPr>
            </a:lvl1pPr>
          </a:lstStyle>
          <a:p>
            <a:fld id="{BC5033AD-2A2E-4B40-820E-C0C238FC5E2C}" type="slidenum">
              <a:rPr lang="en-GB" smtClean="0"/>
              <a:pPr/>
              <a:t>‹#›</a:t>
            </a:fld>
            <a:endParaRPr lang="en-GB"/>
          </a:p>
        </p:txBody>
      </p:sp>
      <p:sp>
        <p:nvSpPr>
          <p:cNvPr id="12" name="Footer Placeholder 4">
            <a:extLst>
              <a:ext uri="{FF2B5EF4-FFF2-40B4-BE49-F238E27FC236}">
                <a16:creationId xmlns:a16="http://schemas.microsoft.com/office/drawing/2014/main" id="{512613F5-4CCF-18F1-66F3-9A7445BA39A5}"/>
              </a:ext>
            </a:extLst>
          </p:cNvPr>
          <p:cNvSpPr>
            <a:spLocks noGrp="1"/>
          </p:cNvSpPr>
          <p:nvPr>
            <p:ph type="ftr" sz="quarter" idx="11"/>
          </p:nvPr>
        </p:nvSpPr>
        <p:spPr>
          <a:xfrm>
            <a:off x="8975724" y="308925"/>
            <a:ext cx="2692399" cy="203835"/>
          </a:xfrm>
        </p:spPr>
        <p:txBody>
          <a:bodyPr/>
          <a:lstStyle>
            <a:lvl1pPr>
              <a:defRPr b="0" i="0">
                <a:solidFill>
                  <a:schemeClr val="tx1"/>
                </a:solidFill>
                <a:latin typeface="BT Curve" panose="020B0503020203020204" pitchFamily="34" charset="0"/>
              </a:defRPr>
            </a:lvl1pPr>
          </a:lstStyle>
          <a:p>
            <a:r>
              <a:rPr lang="en-GB"/>
              <a:t>BT Group PowerPoint    |</a:t>
            </a:r>
          </a:p>
        </p:txBody>
      </p:sp>
      <p:sp>
        <p:nvSpPr>
          <p:cNvPr id="24" name="Rectangle 23">
            <a:extLst>
              <a:ext uri="{FF2B5EF4-FFF2-40B4-BE49-F238E27FC236}">
                <a16:creationId xmlns:a16="http://schemas.microsoft.com/office/drawing/2014/main" id="{76E6BDCC-5994-F2EC-D973-1E8D2220C7D3}"/>
              </a:ext>
            </a:extLst>
          </p:cNvPr>
          <p:cNvSpPr/>
          <p:nvPr userDrawn="1"/>
        </p:nvSpPr>
        <p:spPr>
          <a:xfrm>
            <a:off x="-2" y="1122948"/>
            <a:ext cx="4446357" cy="33628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highlight>
                <a:srgbClr val="7159A3"/>
              </a:highlight>
              <a:latin typeface="BT Curve" panose="020B0503020203020204" pitchFamily="34" charset="0"/>
            </a:endParaRPr>
          </a:p>
        </p:txBody>
      </p:sp>
      <p:sp>
        <p:nvSpPr>
          <p:cNvPr id="25" name="Rectangle 24">
            <a:extLst>
              <a:ext uri="{FF2B5EF4-FFF2-40B4-BE49-F238E27FC236}">
                <a16:creationId xmlns:a16="http://schemas.microsoft.com/office/drawing/2014/main" id="{51EAFBD9-1CBB-875A-6A0D-BB9C2328A56C}"/>
              </a:ext>
            </a:extLst>
          </p:cNvPr>
          <p:cNvSpPr/>
          <p:nvPr userDrawn="1"/>
        </p:nvSpPr>
        <p:spPr>
          <a:xfrm>
            <a:off x="4446355" y="1295400"/>
            <a:ext cx="1840145" cy="3229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highlight>
                <a:srgbClr val="7159A3"/>
              </a:highlight>
              <a:latin typeface="BT Curve" panose="020B0503020203020204" pitchFamily="34" charset="0"/>
            </a:endParaRPr>
          </a:p>
        </p:txBody>
      </p:sp>
      <p:sp>
        <p:nvSpPr>
          <p:cNvPr id="26" name="Picture Placeholder 6">
            <a:extLst>
              <a:ext uri="{FF2B5EF4-FFF2-40B4-BE49-F238E27FC236}">
                <a16:creationId xmlns:a16="http://schemas.microsoft.com/office/drawing/2014/main" id="{A24C24BF-7484-39E4-8F07-7DAFA766C7EB}"/>
              </a:ext>
            </a:extLst>
          </p:cNvPr>
          <p:cNvSpPr>
            <a:spLocks noGrp="1"/>
          </p:cNvSpPr>
          <p:nvPr>
            <p:ph type="pic" sz="quarter" idx="13"/>
          </p:nvPr>
        </p:nvSpPr>
        <p:spPr>
          <a:xfrm>
            <a:off x="0" y="1282065"/>
            <a:ext cx="6286500" cy="5553512"/>
          </a:xfrm>
          <a:custGeom>
            <a:avLst/>
            <a:gdLst>
              <a:gd name="connsiteX0" fmla="*/ 0 w 6286500"/>
              <a:gd name="connsiteY0" fmla="*/ 0 h 5549702"/>
              <a:gd name="connsiteX1" fmla="*/ 6286500 w 6286500"/>
              <a:gd name="connsiteY1" fmla="*/ 0 h 5549702"/>
              <a:gd name="connsiteX2" fmla="*/ 6286500 w 6286500"/>
              <a:gd name="connsiteY2" fmla="*/ 5549702 h 5549702"/>
              <a:gd name="connsiteX3" fmla="*/ 0 w 6286500"/>
              <a:gd name="connsiteY3" fmla="*/ 5549702 h 5549702"/>
              <a:gd name="connsiteX4" fmla="*/ 0 w 6286500"/>
              <a:gd name="connsiteY4" fmla="*/ 0 h 5549702"/>
              <a:gd name="connsiteX0" fmla="*/ 0 w 6286500"/>
              <a:gd name="connsiteY0" fmla="*/ 3810 h 5553512"/>
              <a:gd name="connsiteX1" fmla="*/ 4438650 w 6286500"/>
              <a:gd name="connsiteY1" fmla="*/ 0 h 5553512"/>
              <a:gd name="connsiteX2" fmla="*/ 6286500 w 6286500"/>
              <a:gd name="connsiteY2" fmla="*/ 3810 h 5553512"/>
              <a:gd name="connsiteX3" fmla="*/ 6286500 w 6286500"/>
              <a:gd name="connsiteY3" fmla="*/ 5553512 h 5553512"/>
              <a:gd name="connsiteX4" fmla="*/ 0 w 6286500"/>
              <a:gd name="connsiteY4" fmla="*/ 5553512 h 5553512"/>
              <a:gd name="connsiteX5" fmla="*/ 0 w 6286500"/>
              <a:gd name="connsiteY5" fmla="*/ 3810 h 5553512"/>
              <a:gd name="connsiteX0" fmla="*/ 0 w 6286500"/>
              <a:gd name="connsiteY0" fmla="*/ 3810 h 5553512"/>
              <a:gd name="connsiteX1" fmla="*/ 4438650 w 6286500"/>
              <a:gd name="connsiteY1" fmla="*/ 0 h 5553512"/>
              <a:gd name="connsiteX2" fmla="*/ 6286500 w 6286500"/>
              <a:gd name="connsiteY2" fmla="*/ 3810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 name="connsiteX0" fmla="*/ 0 w 6286500"/>
              <a:gd name="connsiteY0" fmla="*/ 3810 h 5553512"/>
              <a:gd name="connsiteX1" fmla="*/ 4438650 w 6286500"/>
              <a:gd name="connsiteY1" fmla="*/ 0 h 5553512"/>
              <a:gd name="connsiteX2" fmla="*/ 4444365 w 6286500"/>
              <a:gd name="connsiteY2" fmla="*/ 173355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 name="connsiteX0" fmla="*/ 0 w 6286500"/>
              <a:gd name="connsiteY0" fmla="*/ 3810 h 5553512"/>
              <a:gd name="connsiteX1" fmla="*/ 4446270 w 6286500"/>
              <a:gd name="connsiteY1" fmla="*/ 0 h 5553512"/>
              <a:gd name="connsiteX2" fmla="*/ 4444365 w 6286500"/>
              <a:gd name="connsiteY2" fmla="*/ 173355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 name="connsiteX0" fmla="*/ 0 w 6286500"/>
              <a:gd name="connsiteY0" fmla="*/ 3810 h 5553512"/>
              <a:gd name="connsiteX1" fmla="*/ 4446270 w 6286500"/>
              <a:gd name="connsiteY1" fmla="*/ 0 h 5553512"/>
              <a:gd name="connsiteX2" fmla="*/ 4444365 w 6286500"/>
              <a:gd name="connsiteY2" fmla="*/ 171450 h 5553512"/>
              <a:gd name="connsiteX3" fmla="*/ 6284595 w 6286500"/>
              <a:gd name="connsiteY3" fmla="*/ 175260 h 5553512"/>
              <a:gd name="connsiteX4" fmla="*/ 6286500 w 6286500"/>
              <a:gd name="connsiteY4" fmla="*/ 5553512 h 5553512"/>
              <a:gd name="connsiteX5" fmla="*/ 0 w 6286500"/>
              <a:gd name="connsiteY5" fmla="*/ 5553512 h 5553512"/>
              <a:gd name="connsiteX6" fmla="*/ 0 w 6286500"/>
              <a:gd name="connsiteY6" fmla="*/ 3810 h 5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0" h="5553512">
                <a:moveTo>
                  <a:pt x="0" y="3810"/>
                </a:moveTo>
                <a:lnTo>
                  <a:pt x="4446270" y="0"/>
                </a:lnTo>
                <a:lnTo>
                  <a:pt x="4444365" y="171450"/>
                </a:lnTo>
                <a:lnTo>
                  <a:pt x="6284595" y="175260"/>
                </a:lnTo>
                <a:lnTo>
                  <a:pt x="6286500" y="5553512"/>
                </a:lnTo>
                <a:lnTo>
                  <a:pt x="0" y="5553512"/>
                </a:lnTo>
                <a:lnTo>
                  <a:pt x="0" y="3810"/>
                </a:lnTo>
                <a:close/>
              </a:path>
            </a:pathLst>
          </a:custGeom>
          <a:solidFill>
            <a:schemeClr val="bg1">
              <a:lumMod val="95000"/>
            </a:schemeClr>
          </a:solidFill>
        </p:spPr>
        <p:txBody>
          <a:bodyPr/>
          <a:lstStyle>
            <a:lvl1pPr>
              <a:defRPr b="0" i="0">
                <a:latin typeface="BT Group Headline" panose="020B0603020203020204" pitchFamily="34" charset="0"/>
              </a:defRPr>
            </a:lvl1pPr>
          </a:lstStyle>
          <a:p>
            <a:r>
              <a:rPr lang="en-US"/>
              <a:t>Click icon to add picture</a:t>
            </a:r>
            <a:endParaRPr lang="en-GB"/>
          </a:p>
        </p:txBody>
      </p:sp>
      <p:pic>
        <p:nvPicPr>
          <p:cNvPr id="2" name="Picture 1">
            <a:extLst>
              <a:ext uri="{FF2B5EF4-FFF2-40B4-BE49-F238E27FC236}">
                <a16:creationId xmlns:a16="http://schemas.microsoft.com/office/drawing/2014/main" id="{82EACAB2-30E4-1C0C-4E20-BD331F22B6F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46379" y="295285"/>
            <a:ext cx="1537265" cy="511811"/>
          </a:xfrm>
          <a:prstGeom prst="rect">
            <a:avLst/>
          </a:prstGeom>
        </p:spPr>
      </p:pic>
    </p:spTree>
    <p:extLst>
      <p:ext uri="{BB962C8B-B14F-4D97-AF65-F5344CB8AC3E}">
        <p14:creationId xmlns:p14="http://schemas.microsoft.com/office/powerpoint/2010/main" val="663184234"/>
      </p:ext>
    </p:extLst>
  </p:cSld>
  <p:clrMapOvr>
    <a:masterClrMapping/>
  </p:clrMapOvr>
  <mc:AlternateContent xmlns:mc="http://schemas.openxmlformats.org/markup-compatibility/2006" xmlns:p14="http://schemas.microsoft.com/office/powerpoint/2010/main">
    <mc:Choice Requires="p14">
      <p:transition p14:dur="250">
        <p:push dir="u"/>
      </p:transition>
    </mc:Choice>
    <mc:Fallback xmlns="">
      <p:transition>
        <p:push dir="u"/>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X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9B7AA-3FFC-1E40-6494-3BDBC1EB603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7CB091-F2D9-DDFC-44E5-F2D4B40D651B}"/>
              </a:ext>
            </a:extLst>
          </p:cNvPr>
          <p:cNvSpPr>
            <a:spLocks noGrp="1"/>
          </p:cNvSpPr>
          <p:nvPr>
            <p:ph idx="1"/>
          </p:nvPr>
        </p:nvSpPr>
        <p:spPr>
          <a:xfrm>
            <a:off x="292100"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602083C-4A3E-5E9E-C5B2-D0CD0B56F353}"/>
              </a:ext>
            </a:extLst>
          </p:cNvPr>
          <p:cNvSpPr>
            <a:spLocks noGrp="1"/>
          </p:cNvSpPr>
          <p:nvPr>
            <p:ph type="ftr" sz="quarter" idx="11"/>
          </p:nvPr>
        </p:nvSpPr>
        <p:spPr/>
        <p:txBody>
          <a:bodyPr/>
          <a:lstStyle>
            <a:lvl1pPr>
              <a:defRPr b="0" i="0">
                <a:latin typeface="BT Curve" panose="020B0503020203020204" pitchFamily="34" charset="0"/>
              </a:defRPr>
            </a:lvl1pPr>
          </a:lstStyle>
          <a:p>
            <a:r>
              <a:rPr lang="en-GB"/>
              <a:t>BT Group PowerPoint    |</a:t>
            </a:r>
          </a:p>
        </p:txBody>
      </p:sp>
      <p:sp>
        <p:nvSpPr>
          <p:cNvPr id="6" name="Slide Number Placeholder 5">
            <a:extLst>
              <a:ext uri="{FF2B5EF4-FFF2-40B4-BE49-F238E27FC236}">
                <a16:creationId xmlns:a16="http://schemas.microsoft.com/office/drawing/2014/main" id="{6DE9122F-F54E-6073-9BDA-16203A207687}"/>
              </a:ext>
            </a:extLst>
          </p:cNvPr>
          <p:cNvSpPr>
            <a:spLocks noGrp="1"/>
          </p:cNvSpPr>
          <p:nvPr>
            <p:ph type="sldNum" sz="quarter" idx="12"/>
          </p:nvPr>
        </p:nvSpPr>
        <p:spPr/>
        <p:txBody>
          <a:bodyPr/>
          <a:lstStyle>
            <a:lvl1pPr>
              <a:defRPr b="0" i="0">
                <a:latin typeface="BT Curve" panose="020B0503020203020204" pitchFamily="34" charset="0"/>
              </a:defRPr>
            </a:lvl1pPr>
          </a:lstStyle>
          <a:p>
            <a:fld id="{BC5033AD-2A2E-4B40-820E-C0C238FC5E2C}" type="slidenum">
              <a:rPr lang="en-GB" smtClean="0"/>
              <a:pPr/>
              <a:t>‹#›</a:t>
            </a:fld>
            <a:endParaRPr lang="en-GB"/>
          </a:p>
        </p:txBody>
      </p:sp>
      <p:sp>
        <p:nvSpPr>
          <p:cNvPr id="8" name="Content Placeholder 2">
            <a:extLst>
              <a:ext uri="{FF2B5EF4-FFF2-40B4-BE49-F238E27FC236}">
                <a16:creationId xmlns:a16="http://schemas.microsoft.com/office/drawing/2014/main" id="{DFA48EAA-1E7A-4D74-0726-E417D04E58F6}"/>
              </a:ext>
            </a:extLst>
          </p:cNvPr>
          <p:cNvSpPr>
            <a:spLocks noGrp="1"/>
          </p:cNvSpPr>
          <p:nvPr>
            <p:ph idx="13"/>
          </p:nvPr>
        </p:nvSpPr>
        <p:spPr>
          <a:xfrm>
            <a:off x="3270433"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7BD5D7FB-B866-CD72-E505-569022365D33}"/>
              </a:ext>
            </a:extLst>
          </p:cNvPr>
          <p:cNvSpPr>
            <a:spLocks noGrp="1"/>
          </p:cNvSpPr>
          <p:nvPr>
            <p:ph idx="14"/>
          </p:nvPr>
        </p:nvSpPr>
        <p:spPr>
          <a:xfrm>
            <a:off x="6248766"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6B1772AF-5F1B-BF20-4DC4-1A61A07EC6FE}"/>
              </a:ext>
            </a:extLst>
          </p:cNvPr>
          <p:cNvSpPr>
            <a:spLocks noGrp="1"/>
          </p:cNvSpPr>
          <p:nvPr>
            <p:ph idx="15"/>
          </p:nvPr>
        </p:nvSpPr>
        <p:spPr>
          <a:xfrm>
            <a:off x="9227100" y="2265363"/>
            <a:ext cx="2672800" cy="4079876"/>
          </a:xfrm>
        </p:spPr>
        <p:txBody>
          <a:bodyPr/>
          <a:lstStyle>
            <a:lvl1pPr>
              <a:defRPr b="0" i="0">
                <a:latin typeface="BT Curve" panose="020B0503020203020204" pitchFamily="34" charset="0"/>
              </a:defRPr>
            </a:lvl1pPr>
            <a:lvl2pPr>
              <a:defRPr b="0" i="0">
                <a:latin typeface="BT Curve" panose="020B0503020203020204" pitchFamily="34" charset="0"/>
              </a:defRPr>
            </a:lvl2pPr>
            <a:lvl3pPr>
              <a:defRPr b="0" i="0">
                <a:latin typeface="BT Curve" panose="020B0503020203020204" pitchFamily="34" charset="0"/>
              </a:defRPr>
            </a:lvl3pPr>
            <a:lvl5pPr>
              <a:defRPr b="0" i="0">
                <a:latin typeface="BT Curve" panose="020B0503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7">
            <a:extLst>
              <a:ext uri="{FF2B5EF4-FFF2-40B4-BE49-F238E27FC236}">
                <a16:creationId xmlns:a16="http://schemas.microsoft.com/office/drawing/2014/main" id="{9667F846-39B1-DDF1-7705-93CD694F8EF3}"/>
              </a:ext>
            </a:extLst>
          </p:cNvPr>
          <p:cNvSpPr>
            <a:spLocks noGrp="1"/>
          </p:cNvSpPr>
          <p:nvPr>
            <p:ph type="body" sz="quarter" idx="10" hasCustomPrompt="1"/>
          </p:nvPr>
        </p:nvSpPr>
        <p:spPr>
          <a:xfrm>
            <a:off x="307975" y="1274128"/>
            <a:ext cx="8667749" cy="821260"/>
          </a:xfrm>
          <a:prstGeom prst="rect">
            <a:avLst/>
          </a:prstGeom>
        </p:spPr>
        <p:txBody>
          <a:bodyPr vert="horz" lIns="0" tIns="0" rIns="0" bIns="0" rtlCol="0">
            <a:noAutofit/>
          </a:bodyPr>
          <a:lstStyle>
            <a:lvl1pPr>
              <a:defRPr lang="en-US" sz="2000" dirty="0">
                <a:latin typeface="+mj-lt"/>
              </a:defRPr>
            </a:lvl1pPr>
          </a:lstStyle>
          <a:p>
            <a:pPr lvl="0"/>
            <a:r>
              <a:rPr lang="en-US"/>
              <a:t>Click to enter sub heading.</a:t>
            </a:r>
          </a:p>
        </p:txBody>
      </p:sp>
    </p:spTree>
    <p:extLst>
      <p:ext uri="{BB962C8B-B14F-4D97-AF65-F5344CB8AC3E}">
        <p14:creationId xmlns:p14="http://schemas.microsoft.com/office/powerpoint/2010/main" val="2054313397"/>
      </p:ext>
    </p:extLst>
  </p:cSld>
  <p:clrMapOvr>
    <a:masterClrMapping/>
  </p:clrMapOvr>
  <mc:AlternateContent xmlns:mc="http://schemas.openxmlformats.org/markup-compatibility/2006" xmlns:p14="http://schemas.microsoft.com/office/powerpoint/2010/main">
    <mc:Choice Requires="p14">
      <p:transition p14:dur="250">
        <p:push dir="u"/>
      </p:transition>
    </mc:Choice>
    <mc:Fallback xmlns="">
      <p:transition>
        <p:push dir="u"/>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rgundy - 2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572721"/>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 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276425"/>
            <a:ext cx="5595866" cy="4607281"/>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276425"/>
            <a:ext cx="5637843" cy="4607281"/>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539153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IMAGE 0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29290CD-4CE7-7236-986F-69B69B17A79C}"/>
              </a:ext>
            </a:extLst>
          </p:cNvPr>
          <p:cNvSpPr>
            <a:spLocks noGrp="1"/>
          </p:cNvSpPr>
          <p:nvPr>
            <p:ph type="pic" sz="quarter" idx="13"/>
          </p:nvPr>
        </p:nvSpPr>
        <p:spPr>
          <a:xfrm>
            <a:off x="2" y="0"/>
            <a:ext cx="12191999" cy="6858000"/>
          </a:xfrm>
          <a:custGeom>
            <a:avLst/>
            <a:gdLst>
              <a:gd name="connsiteX0" fmla="*/ 0 w 12191999"/>
              <a:gd name="connsiteY0" fmla="*/ 0 h 6858000"/>
              <a:gd name="connsiteX1" fmla="*/ 445558 w 12191999"/>
              <a:gd name="connsiteY1" fmla="*/ 0 h 6858000"/>
              <a:gd name="connsiteX2" fmla="*/ 445558 w 12191999"/>
              <a:gd name="connsiteY2" fmla="*/ 173355 h 6858000"/>
              <a:gd name="connsiteX3" fmla="*/ 1346349 w 12191999"/>
              <a:gd name="connsiteY3" fmla="*/ 173355 h 6858000"/>
              <a:gd name="connsiteX4" fmla="*/ 1346349 w 12191999"/>
              <a:gd name="connsiteY4" fmla="*/ 0 h 6858000"/>
              <a:gd name="connsiteX5" fmla="*/ 12191999 w 12191999"/>
              <a:gd name="connsiteY5" fmla="*/ 0 h 6858000"/>
              <a:gd name="connsiteX6" fmla="*/ 12191999 w 12191999"/>
              <a:gd name="connsiteY6" fmla="*/ 6858000 h 6858000"/>
              <a:gd name="connsiteX7" fmla="*/ 12191996 w 12191999"/>
              <a:gd name="connsiteY7" fmla="*/ 6858000 h 6858000"/>
              <a:gd name="connsiteX8" fmla="*/ 12191996 w 12191999"/>
              <a:gd name="connsiteY8" fmla="*/ 6417131 h 6858000"/>
              <a:gd name="connsiteX9" fmla="*/ 12018641 w 12191999"/>
              <a:gd name="connsiteY9" fmla="*/ 6417131 h 6858000"/>
              <a:gd name="connsiteX10" fmla="*/ 12018641 w 12191999"/>
              <a:gd name="connsiteY10" fmla="*/ 6858000 h 6858000"/>
              <a:gd name="connsiteX11" fmla="*/ 0 w 12191999"/>
              <a:gd name="connsiteY11" fmla="*/ 6858000 h 6858000"/>
              <a:gd name="connsiteX12" fmla="*/ 0 w 12191999"/>
              <a:gd name="connsiteY12" fmla="*/ 6857999 h 6858000"/>
              <a:gd name="connsiteX13" fmla="*/ 173354 w 12191999"/>
              <a:gd name="connsiteY13" fmla="*/ 6857999 h 6858000"/>
              <a:gd name="connsiteX14" fmla="*/ 173354 w 12191999"/>
              <a:gd name="connsiteY14" fmla="*/ 5084066 h 6858000"/>
              <a:gd name="connsiteX15" fmla="*/ 0 w 12191999"/>
              <a:gd name="connsiteY15" fmla="*/ 50840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9" h="6858000">
                <a:moveTo>
                  <a:pt x="0" y="0"/>
                </a:moveTo>
                <a:lnTo>
                  <a:pt x="445558" y="0"/>
                </a:lnTo>
                <a:lnTo>
                  <a:pt x="445558" y="173355"/>
                </a:lnTo>
                <a:lnTo>
                  <a:pt x="1346349" y="173355"/>
                </a:lnTo>
                <a:lnTo>
                  <a:pt x="1346349" y="0"/>
                </a:lnTo>
                <a:lnTo>
                  <a:pt x="12191999" y="0"/>
                </a:lnTo>
                <a:lnTo>
                  <a:pt x="12191999" y="6858000"/>
                </a:lnTo>
                <a:lnTo>
                  <a:pt x="12191996" y="6858000"/>
                </a:lnTo>
                <a:lnTo>
                  <a:pt x="12191996" y="6417131"/>
                </a:lnTo>
                <a:lnTo>
                  <a:pt x="12018641" y="6417131"/>
                </a:lnTo>
                <a:lnTo>
                  <a:pt x="12018641" y="6858000"/>
                </a:lnTo>
                <a:lnTo>
                  <a:pt x="0" y="6858000"/>
                </a:lnTo>
                <a:lnTo>
                  <a:pt x="0" y="6857999"/>
                </a:lnTo>
                <a:lnTo>
                  <a:pt x="173354" y="6857999"/>
                </a:lnTo>
                <a:lnTo>
                  <a:pt x="173354" y="5084066"/>
                </a:lnTo>
                <a:lnTo>
                  <a:pt x="0" y="5084066"/>
                </a:lnTo>
                <a:close/>
              </a:path>
            </a:pathLst>
          </a:custGeom>
          <a:solidFill>
            <a:schemeClr val="bg1">
              <a:lumMod val="85000"/>
            </a:schemeClr>
          </a:solidFill>
        </p:spPr>
        <p:txBody>
          <a:bodyPr wrap="square">
            <a:noAutofit/>
          </a:bodyPr>
          <a:lstStyle>
            <a:lvl1pPr>
              <a:defRPr b="0" i="0">
                <a:latin typeface="BT Group Headline" panose="020B0603020203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3D990233-9841-5EC7-BF8C-C03D9D0A6976}"/>
              </a:ext>
            </a:extLst>
          </p:cNvPr>
          <p:cNvSpPr>
            <a:spLocks noGrp="1"/>
          </p:cNvSpPr>
          <p:nvPr>
            <p:ph type="title" hasCustomPrompt="1"/>
          </p:nvPr>
        </p:nvSpPr>
        <p:spPr>
          <a:xfrm>
            <a:off x="292099" y="4200243"/>
            <a:ext cx="11591925" cy="962978"/>
          </a:xfrm>
        </p:spPr>
        <p:txBody>
          <a:bodyPr/>
          <a:lstStyle>
            <a:lvl1pPr>
              <a:defRPr sz="7200">
                <a:solidFill>
                  <a:schemeClr val="bg1"/>
                </a:solidFill>
              </a:defRPr>
            </a:lvl1pPr>
          </a:lstStyle>
          <a:p>
            <a:r>
              <a:rPr lang="en-US"/>
              <a:t>Title </a:t>
            </a:r>
            <a:endParaRPr lang="en-GB"/>
          </a:p>
        </p:txBody>
      </p:sp>
      <p:sp>
        <p:nvSpPr>
          <p:cNvPr id="3" name="Footer Placeholder 2">
            <a:extLst>
              <a:ext uri="{FF2B5EF4-FFF2-40B4-BE49-F238E27FC236}">
                <a16:creationId xmlns:a16="http://schemas.microsoft.com/office/drawing/2014/main" id="{65D55859-1A2D-DEA3-2E64-3FE8DD53D157}"/>
              </a:ext>
            </a:extLst>
          </p:cNvPr>
          <p:cNvSpPr>
            <a:spLocks noGrp="1"/>
          </p:cNvSpPr>
          <p:nvPr>
            <p:ph type="ftr" sz="quarter" idx="10"/>
          </p:nvPr>
        </p:nvSpPr>
        <p:spPr/>
        <p:txBody>
          <a:bodyPr/>
          <a:lstStyle>
            <a:lvl1pPr>
              <a:defRPr b="0" i="0">
                <a:solidFill>
                  <a:schemeClr val="bg1"/>
                </a:solidFill>
                <a:latin typeface="BT Curve" panose="020B0503020203020204" pitchFamily="34" charset="0"/>
              </a:defRPr>
            </a:lvl1pPr>
          </a:lstStyle>
          <a:p>
            <a:r>
              <a:rPr lang="en-GB"/>
              <a:t>BT Group PowerPoint    |</a:t>
            </a:r>
          </a:p>
        </p:txBody>
      </p:sp>
      <p:sp>
        <p:nvSpPr>
          <p:cNvPr id="4" name="Slide Number Placeholder 3">
            <a:extLst>
              <a:ext uri="{FF2B5EF4-FFF2-40B4-BE49-F238E27FC236}">
                <a16:creationId xmlns:a16="http://schemas.microsoft.com/office/drawing/2014/main" id="{FF5D5185-0760-370C-20F3-2D24C6CA42EC}"/>
              </a:ext>
            </a:extLst>
          </p:cNvPr>
          <p:cNvSpPr>
            <a:spLocks noGrp="1"/>
          </p:cNvSpPr>
          <p:nvPr>
            <p:ph type="sldNum" sz="quarter" idx="11"/>
          </p:nvPr>
        </p:nvSpPr>
        <p:spPr/>
        <p:txBody>
          <a:bodyPr/>
          <a:lstStyle>
            <a:lvl1pPr>
              <a:defRPr b="0" i="0">
                <a:solidFill>
                  <a:schemeClr val="bg1"/>
                </a:solidFill>
                <a:latin typeface="BT Curve" panose="020B0503020203020204" pitchFamily="34" charset="0"/>
              </a:defRPr>
            </a:lvl1pPr>
          </a:lstStyle>
          <a:p>
            <a:fld id="{7F05727F-EB13-4C36-9A9C-A65743ED0171}" type="slidenum">
              <a:rPr lang="en-GB" smtClean="0"/>
              <a:pPr/>
              <a:t>‹#›</a:t>
            </a:fld>
            <a:endParaRPr lang="en-GB"/>
          </a:p>
        </p:txBody>
      </p:sp>
      <p:sp>
        <p:nvSpPr>
          <p:cNvPr id="10" name="Rectangle 9">
            <a:extLst>
              <a:ext uri="{FF2B5EF4-FFF2-40B4-BE49-F238E27FC236}">
                <a16:creationId xmlns:a16="http://schemas.microsoft.com/office/drawing/2014/main" id="{931A1957-420B-57D4-FDA0-E3D4D294986A}"/>
              </a:ext>
            </a:extLst>
          </p:cNvPr>
          <p:cNvSpPr/>
          <p:nvPr userDrawn="1"/>
        </p:nvSpPr>
        <p:spPr>
          <a:xfrm rot="16200000">
            <a:off x="-800289" y="5884355"/>
            <a:ext cx="1773933" cy="173355"/>
          </a:xfrm>
          <a:prstGeom prst="rect">
            <a:avLst/>
          </a:prstGeom>
          <a:solidFill>
            <a:srgbClr val="EDF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highlight>
                <a:srgbClr val="C0C0C0"/>
              </a:highlight>
              <a:latin typeface="BT Curve" panose="020B0503020203020204" pitchFamily="34" charset="0"/>
            </a:endParaRPr>
          </a:p>
        </p:txBody>
      </p:sp>
      <p:sp>
        <p:nvSpPr>
          <p:cNvPr id="11" name="Rectangle 10">
            <a:extLst>
              <a:ext uri="{FF2B5EF4-FFF2-40B4-BE49-F238E27FC236}">
                <a16:creationId xmlns:a16="http://schemas.microsoft.com/office/drawing/2014/main" id="{AF21C02A-28AF-C4E1-2E0E-EEBF72E9A7D8}"/>
              </a:ext>
            </a:extLst>
          </p:cNvPr>
          <p:cNvSpPr/>
          <p:nvPr userDrawn="1"/>
        </p:nvSpPr>
        <p:spPr>
          <a:xfrm>
            <a:off x="445559" y="0"/>
            <a:ext cx="900790" cy="173355"/>
          </a:xfrm>
          <a:prstGeom prst="rect">
            <a:avLst/>
          </a:prstGeom>
          <a:solidFill>
            <a:srgbClr val="FF8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T Curve" panose="020B0503020203020204" pitchFamily="34" charset="0"/>
            </a:endParaRPr>
          </a:p>
        </p:txBody>
      </p:sp>
      <p:sp>
        <p:nvSpPr>
          <p:cNvPr id="12" name="Rectangle 11">
            <a:extLst>
              <a:ext uri="{FF2B5EF4-FFF2-40B4-BE49-F238E27FC236}">
                <a16:creationId xmlns:a16="http://schemas.microsoft.com/office/drawing/2014/main" id="{F5CA7D1F-F60E-C801-241F-166E2BF4290A}"/>
              </a:ext>
            </a:extLst>
          </p:cNvPr>
          <p:cNvSpPr/>
          <p:nvPr userDrawn="1"/>
        </p:nvSpPr>
        <p:spPr>
          <a:xfrm rot="5400000">
            <a:off x="11877974" y="6557799"/>
            <a:ext cx="454691" cy="1733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T Curve" panose="020B0503020203020204" pitchFamily="34" charset="0"/>
            </a:endParaRPr>
          </a:p>
        </p:txBody>
      </p:sp>
    </p:spTree>
    <p:extLst>
      <p:ext uri="{BB962C8B-B14F-4D97-AF65-F5344CB8AC3E}">
        <p14:creationId xmlns:p14="http://schemas.microsoft.com/office/powerpoint/2010/main" val="2038122067"/>
      </p:ext>
    </p:extLst>
  </p:cSld>
  <p:clrMapOvr>
    <a:masterClrMapping/>
  </p:clrMapOvr>
  <mc:AlternateContent xmlns:mc="http://schemas.openxmlformats.org/markup-compatibility/2006" xmlns:p14="http://schemas.microsoft.com/office/powerpoint/2010/main">
    <mc:Choice Requires="p14">
      <p:transition p14:dur="250">
        <p:push dir="u"/>
      </p:transition>
    </mc:Choice>
    <mc:Fallback xmlns="">
      <p:transition>
        <p:push dir="u"/>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03">
    <p:bg>
      <p:bgPr>
        <a:solidFill>
          <a:srgbClr val="FFFFFF"/>
        </a:solidFill>
        <a:effectLst/>
      </p:bgPr>
    </p:bg>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C8D13F90-6E0E-B295-7135-69B4796B5C27}"/>
              </a:ext>
            </a:extLst>
          </p:cNvPr>
          <p:cNvSpPr>
            <a:spLocks noGrp="1"/>
          </p:cNvSpPr>
          <p:nvPr>
            <p:ph type="title"/>
          </p:nvPr>
        </p:nvSpPr>
        <p:spPr>
          <a:xfrm>
            <a:off x="307976" y="2854960"/>
            <a:ext cx="5788024" cy="2441660"/>
          </a:xfrm>
          <a:prstGeom prst="rect">
            <a:avLst/>
          </a:prstGeom>
        </p:spPr>
        <p:txBody>
          <a:bodyPr lIns="0" tIns="0" rIns="0" bIns="0" anchor="t">
            <a:noAutofit/>
          </a:bodyPr>
          <a:lstStyle>
            <a:lvl1pPr>
              <a:defRPr kumimoji="0" lang="en-US" sz="5400" b="0" i="0" u="none" strike="noStrike" kern="0" cap="none" spc="-52" normalizeH="0" baseline="0" smtClean="0">
                <a:ln>
                  <a:noFill/>
                </a:ln>
                <a:solidFill>
                  <a:schemeClr val="tx1"/>
                </a:solidFill>
                <a:effectLst/>
                <a:uLnTx/>
                <a:uFillTx/>
                <a:latin typeface="BT Group Headline" panose="020B0603020203020204" pitchFamily="34" charset="0"/>
                <a:ea typeface="+mj-ea"/>
                <a:cs typeface="BT Group Headline" panose="020B0603020203020204" pitchFamily="34" charset="0"/>
              </a:defRPr>
            </a:lvl1pPr>
          </a:lstStyle>
          <a:p>
            <a:r>
              <a:rPr lang="en-US"/>
              <a:t>Click to edit Master title style</a:t>
            </a:r>
            <a:endParaRPr lang="en-GB"/>
          </a:p>
        </p:txBody>
      </p:sp>
      <p:sp>
        <p:nvSpPr>
          <p:cNvPr id="8" name="Picture Placeholder 6">
            <a:extLst>
              <a:ext uri="{FF2B5EF4-FFF2-40B4-BE49-F238E27FC236}">
                <a16:creationId xmlns:a16="http://schemas.microsoft.com/office/drawing/2014/main" id="{18F8D126-69A5-6338-7867-9DC7D4BF8C72}"/>
              </a:ext>
            </a:extLst>
          </p:cNvPr>
          <p:cNvSpPr>
            <a:spLocks noGrp="1"/>
          </p:cNvSpPr>
          <p:nvPr>
            <p:ph type="pic" sz="quarter" idx="13"/>
          </p:nvPr>
        </p:nvSpPr>
        <p:spPr>
          <a:xfrm>
            <a:off x="6653843" y="0"/>
            <a:ext cx="5538157" cy="6858000"/>
          </a:xfrm>
          <a:prstGeom prst="rect">
            <a:avLst/>
          </a:prstGeom>
          <a:solidFill>
            <a:schemeClr val="bg1">
              <a:lumMod val="85000"/>
            </a:schemeClr>
          </a:solidFill>
        </p:spPr>
        <p:txBody>
          <a:bodyPr/>
          <a:lstStyle>
            <a:lvl1pPr>
              <a:defRPr b="0" i="0">
                <a:solidFill>
                  <a:schemeClr val="bg1"/>
                </a:solidFill>
                <a:latin typeface="BT Group Headline" panose="020B0603020203020204" pitchFamily="34" charset="0"/>
              </a:defRPr>
            </a:lvl1pPr>
          </a:lstStyle>
          <a:p>
            <a:r>
              <a:rPr lang="en-US"/>
              <a:t>Click icon to add picture</a:t>
            </a:r>
            <a:endParaRPr lang="en-GB"/>
          </a:p>
        </p:txBody>
      </p:sp>
      <p:sp>
        <p:nvSpPr>
          <p:cNvPr id="11" name="Rectangle 10">
            <a:extLst>
              <a:ext uri="{FF2B5EF4-FFF2-40B4-BE49-F238E27FC236}">
                <a16:creationId xmlns:a16="http://schemas.microsoft.com/office/drawing/2014/main" id="{F6919694-ABC1-EEDE-5141-BBF2372FC82D}"/>
              </a:ext>
            </a:extLst>
          </p:cNvPr>
          <p:cNvSpPr/>
          <p:nvPr userDrawn="1"/>
        </p:nvSpPr>
        <p:spPr>
          <a:xfrm>
            <a:off x="307975" y="2082800"/>
            <a:ext cx="909320" cy="1825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BT Curve" panose="020B0503020203020204" pitchFamily="34" charset="0"/>
            </a:endParaRPr>
          </a:p>
        </p:txBody>
      </p:sp>
      <p:sp>
        <p:nvSpPr>
          <p:cNvPr id="13" name="Rectangle 12">
            <a:extLst>
              <a:ext uri="{FF2B5EF4-FFF2-40B4-BE49-F238E27FC236}">
                <a16:creationId xmlns:a16="http://schemas.microsoft.com/office/drawing/2014/main" id="{14095336-4EB8-B3F6-5890-047B66F1EA37}"/>
              </a:ext>
            </a:extLst>
          </p:cNvPr>
          <p:cNvSpPr/>
          <p:nvPr userDrawn="1"/>
        </p:nvSpPr>
        <p:spPr>
          <a:xfrm>
            <a:off x="4844415" y="6430485"/>
            <a:ext cx="1809428" cy="1825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BT Curve" panose="020B0503020203020204" pitchFamily="34" charset="0"/>
            </a:endParaRPr>
          </a:p>
        </p:txBody>
      </p:sp>
      <p:sp>
        <p:nvSpPr>
          <p:cNvPr id="18" name="Text Placeholder 17">
            <a:extLst>
              <a:ext uri="{FF2B5EF4-FFF2-40B4-BE49-F238E27FC236}">
                <a16:creationId xmlns:a16="http://schemas.microsoft.com/office/drawing/2014/main" id="{9821840A-C4FC-5666-DFC7-ED2A52DB96E7}"/>
              </a:ext>
            </a:extLst>
          </p:cNvPr>
          <p:cNvSpPr>
            <a:spLocks noGrp="1"/>
          </p:cNvSpPr>
          <p:nvPr>
            <p:ph type="body" sz="quarter" idx="10" hasCustomPrompt="1"/>
          </p:nvPr>
        </p:nvSpPr>
        <p:spPr>
          <a:xfrm>
            <a:off x="307975" y="5503634"/>
            <a:ext cx="5788025" cy="821260"/>
          </a:xfrm>
          <a:prstGeom prst="rect">
            <a:avLst/>
          </a:prstGeom>
        </p:spPr>
        <p:txBody>
          <a:bodyPr vert="horz" lIns="0" tIns="0" rIns="0" bIns="0" rtlCol="0">
            <a:noAutofit/>
          </a:bodyPr>
          <a:lstStyle>
            <a:lvl1pPr>
              <a:defRPr lang="en-US" sz="2000" dirty="0">
                <a:latin typeface="+mj-lt"/>
              </a:defRPr>
            </a:lvl1pPr>
          </a:lstStyle>
          <a:p>
            <a:pPr lvl="0"/>
            <a:r>
              <a:rPr lang="en-US"/>
              <a:t>Click to enter sub heading.</a:t>
            </a:r>
          </a:p>
        </p:txBody>
      </p:sp>
      <p:grpSp>
        <p:nvGrpSpPr>
          <p:cNvPr id="59" name="Group 58">
            <a:extLst>
              <a:ext uri="{FF2B5EF4-FFF2-40B4-BE49-F238E27FC236}">
                <a16:creationId xmlns:a16="http://schemas.microsoft.com/office/drawing/2014/main" id="{A3D16883-AB91-1A99-4DFE-93F05CBA0087}"/>
              </a:ext>
            </a:extLst>
          </p:cNvPr>
          <p:cNvGrpSpPr/>
          <p:nvPr userDrawn="1"/>
        </p:nvGrpSpPr>
        <p:grpSpPr>
          <a:xfrm>
            <a:off x="306070" y="303531"/>
            <a:ext cx="1749975" cy="575048"/>
            <a:chOff x="306070" y="303531"/>
            <a:chExt cx="1749975" cy="575048"/>
          </a:xfrm>
        </p:grpSpPr>
        <p:sp>
          <p:nvSpPr>
            <p:cNvPr id="44" name="Freeform: Shape 43">
              <a:extLst>
                <a:ext uri="{FF2B5EF4-FFF2-40B4-BE49-F238E27FC236}">
                  <a16:creationId xmlns:a16="http://schemas.microsoft.com/office/drawing/2014/main" id="{2704C8CF-C998-7512-27CD-62C1322E6985}"/>
                </a:ext>
              </a:extLst>
            </p:cNvPr>
            <p:cNvSpPr/>
            <p:nvPr/>
          </p:nvSpPr>
          <p:spPr>
            <a:xfrm>
              <a:off x="306070" y="308044"/>
              <a:ext cx="236068" cy="293843"/>
            </a:xfrm>
            <a:custGeom>
              <a:avLst/>
              <a:gdLst>
                <a:gd name="connsiteX0" fmla="*/ 132928 w 236068"/>
                <a:gd name="connsiteY0" fmla="*/ -173 h 293843"/>
                <a:gd name="connsiteX1" fmla="*/ 224557 w 236068"/>
                <a:gd name="connsiteY1" fmla="*/ 74303 h 293843"/>
                <a:gd name="connsiteX2" fmla="*/ 170844 w 236068"/>
                <a:gd name="connsiteY2" fmla="*/ 137947 h 293843"/>
                <a:gd name="connsiteX3" fmla="*/ 235841 w 236068"/>
                <a:gd name="connsiteY3" fmla="*/ 207459 h 293843"/>
                <a:gd name="connsiteX4" fmla="*/ 136539 w 236068"/>
                <a:gd name="connsiteY4" fmla="*/ 293671 h 293843"/>
                <a:gd name="connsiteX5" fmla="*/ -227 w 236068"/>
                <a:gd name="connsiteY5" fmla="*/ 293671 h 293843"/>
                <a:gd name="connsiteX6" fmla="*/ -227 w 236068"/>
                <a:gd name="connsiteY6" fmla="*/ -173 h 293843"/>
                <a:gd name="connsiteX7" fmla="*/ 125255 w 236068"/>
                <a:gd name="connsiteY7" fmla="*/ 119892 h 293843"/>
                <a:gd name="connsiteX8" fmla="*/ 166330 w 236068"/>
                <a:gd name="connsiteY8" fmla="*/ 82428 h 293843"/>
                <a:gd name="connsiteX9" fmla="*/ 125255 w 236068"/>
                <a:gd name="connsiteY9" fmla="*/ 46770 h 293843"/>
                <a:gd name="connsiteX10" fmla="*/ 56195 w 236068"/>
                <a:gd name="connsiteY10" fmla="*/ 46770 h 293843"/>
                <a:gd name="connsiteX11" fmla="*/ 56195 w 236068"/>
                <a:gd name="connsiteY11" fmla="*/ 119892 h 293843"/>
                <a:gd name="connsiteX12" fmla="*/ 130220 w 236068"/>
                <a:gd name="connsiteY12" fmla="*/ 246728 h 293843"/>
                <a:gd name="connsiteX13" fmla="*/ 177614 w 236068"/>
                <a:gd name="connsiteY13" fmla="*/ 206104 h 293843"/>
                <a:gd name="connsiteX14" fmla="*/ 130220 w 236068"/>
                <a:gd name="connsiteY14" fmla="*/ 166835 h 293843"/>
                <a:gd name="connsiteX15" fmla="*/ 56195 w 236068"/>
                <a:gd name="connsiteY15" fmla="*/ 166835 h 293843"/>
                <a:gd name="connsiteX16" fmla="*/ 56195 w 236068"/>
                <a:gd name="connsiteY16" fmla="*/ 247179 h 293843"/>
                <a:gd name="connsiteX17" fmla="*/ 130220 w 236068"/>
                <a:gd name="connsiteY17" fmla="*/ 247179 h 2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068" h="293843">
                  <a:moveTo>
                    <a:pt x="132928" y="-173"/>
                  </a:moveTo>
                  <a:cubicBezTo>
                    <a:pt x="187544" y="-173"/>
                    <a:pt x="224557" y="30069"/>
                    <a:pt x="224557" y="74303"/>
                  </a:cubicBezTo>
                  <a:cubicBezTo>
                    <a:pt x="224557" y="103643"/>
                    <a:pt x="203794" y="127114"/>
                    <a:pt x="170844" y="137947"/>
                  </a:cubicBezTo>
                  <a:cubicBezTo>
                    <a:pt x="211016" y="146975"/>
                    <a:pt x="235841" y="172251"/>
                    <a:pt x="235841" y="207459"/>
                  </a:cubicBezTo>
                  <a:cubicBezTo>
                    <a:pt x="235841" y="258464"/>
                    <a:pt x="195669" y="293671"/>
                    <a:pt x="136539" y="293671"/>
                  </a:cubicBezTo>
                  <a:lnTo>
                    <a:pt x="-227" y="293671"/>
                  </a:lnTo>
                  <a:lnTo>
                    <a:pt x="-227" y="-173"/>
                  </a:lnTo>
                  <a:close/>
                  <a:moveTo>
                    <a:pt x="125255" y="119892"/>
                  </a:moveTo>
                  <a:cubicBezTo>
                    <a:pt x="153691" y="119892"/>
                    <a:pt x="166330" y="102740"/>
                    <a:pt x="166330" y="82428"/>
                  </a:cubicBezTo>
                  <a:cubicBezTo>
                    <a:pt x="166330" y="59859"/>
                    <a:pt x="150983" y="46770"/>
                    <a:pt x="125255" y="46770"/>
                  </a:cubicBezTo>
                  <a:lnTo>
                    <a:pt x="56195" y="46770"/>
                  </a:lnTo>
                  <a:lnTo>
                    <a:pt x="56195" y="119892"/>
                  </a:lnTo>
                  <a:close/>
                  <a:moveTo>
                    <a:pt x="130220" y="246728"/>
                  </a:moveTo>
                  <a:cubicBezTo>
                    <a:pt x="159559" y="246728"/>
                    <a:pt x="177614" y="231381"/>
                    <a:pt x="177614" y="206104"/>
                  </a:cubicBezTo>
                  <a:cubicBezTo>
                    <a:pt x="177614" y="182633"/>
                    <a:pt x="158656" y="166835"/>
                    <a:pt x="130220" y="166835"/>
                  </a:cubicBezTo>
                  <a:lnTo>
                    <a:pt x="56195" y="166835"/>
                  </a:lnTo>
                  <a:lnTo>
                    <a:pt x="56195" y="247179"/>
                  </a:lnTo>
                  <a:lnTo>
                    <a:pt x="130220" y="247179"/>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5" name="Freeform: Shape 44">
              <a:extLst>
                <a:ext uri="{FF2B5EF4-FFF2-40B4-BE49-F238E27FC236}">
                  <a16:creationId xmlns:a16="http://schemas.microsoft.com/office/drawing/2014/main" id="{1424A877-FD28-EC16-831E-F9CCE5E6802F}"/>
                </a:ext>
              </a:extLst>
            </p:cNvPr>
            <p:cNvSpPr/>
            <p:nvPr/>
          </p:nvSpPr>
          <p:spPr>
            <a:xfrm>
              <a:off x="554325" y="308044"/>
              <a:ext cx="242839" cy="293843"/>
            </a:xfrm>
            <a:custGeom>
              <a:avLst/>
              <a:gdLst>
                <a:gd name="connsiteX0" fmla="*/ 150080 w 242839"/>
                <a:gd name="connsiteY0" fmla="*/ 49027 h 293843"/>
                <a:gd name="connsiteX1" fmla="*/ 150080 w 242839"/>
                <a:gd name="connsiteY1" fmla="*/ 293671 h 293843"/>
                <a:gd name="connsiteX2" fmla="*/ 92305 w 242839"/>
                <a:gd name="connsiteY2" fmla="*/ 293671 h 293843"/>
                <a:gd name="connsiteX3" fmla="*/ 92305 w 242839"/>
                <a:gd name="connsiteY3" fmla="*/ 49027 h 293843"/>
                <a:gd name="connsiteX4" fmla="*/ -227 w 242839"/>
                <a:gd name="connsiteY4" fmla="*/ 49027 h 293843"/>
                <a:gd name="connsiteX5" fmla="*/ -227 w 242839"/>
                <a:gd name="connsiteY5" fmla="*/ -173 h 293843"/>
                <a:gd name="connsiteX6" fmla="*/ 242612 w 242839"/>
                <a:gd name="connsiteY6" fmla="*/ -173 h 293843"/>
                <a:gd name="connsiteX7" fmla="*/ 242612 w 242839"/>
                <a:gd name="connsiteY7" fmla="*/ 49027 h 2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39" h="293843">
                  <a:moveTo>
                    <a:pt x="150080" y="49027"/>
                  </a:moveTo>
                  <a:lnTo>
                    <a:pt x="150080" y="293671"/>
                  </a:lnTo>
                  <a:lnTo>
                    <a:pt x="92305" y="293671"/>
                  </a:lnTo>
                  <a:lnTo>
                    <a:pt x="92305" y="49027"/>
                  </a:lnTo>
                  <a:lnTo>
                    <a:pt x="-227" y="49027"/>
                  </a:lnTo>
                  <a:lnTo>
                    <a:pt x="-227" y="-173"/>
                  </a:lnTo>
                  <a:lnTo>
                    <a:pt x="242612" y="-173"/>
                  </a:lnTo>
                  <a:lnTo>
                    <a:pt x="242612" y="49027"/>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6" name="Freeform: Shape 45">
              <a:extLst>
                <a:ext uri="{FF2B5EF4-FFF2-40B4-BE49-F238E27FC236}">
                  <a16:creationId xmlns:a16="http://schemas.microsoft.com/office/drawing/2014/main" id="{29F17501-67A9-7663-3AEC-9B00C686387C}"/>
                </a:ext>
              </a:extLst>
            </p:cNvPr>
            <p:cNvSpPr/>
            <p:nvPr/>
          </p:nvSpPr>
          <p:spPr>
            <a:xfrm>
              <a:off x="877057" y="303531"/>
              <a:ext cx="246901" cy="303774"/>
            </a:xfrm>
            <a:custGeom>
              <a:avLst/>
              <a:gdLst>
                <a:gd name="connsiteX0" fmla="*/ 246223 w 246901"/>
                <a:gd name="connsiteY0" fmla="*/ 298636 h 303774"/>
                <a:gd name="connsiteX1" fmla="*/ 191607 w 246901"/>
                <a:gd name="connsiteY1" fmla="*/ 298636 h 303774"/>
                <a:gd name="connsiteX2" fmla="*/ 191607 w 246901"/>
                <a:gd name="connsiteY2" fmla="*/ 248082 h 303774"/>
                <a:gd name="connsiteX3" fmla="*/ 112165 w 246901"/>
                <a:gd name="connsiteY3" fmla="*/ 303601 h 303774"/>
                <a:gd name="connsiteX4" fmla="*/ -227 w 246901"/>
                <a:gd name="connsiteY4" fmla="*/ 153745 h 303774"/>
                <a:gd name="connsiteX5" fmla="*/ 132477 w 246901"/>
                <a:gd name="connsiteY5" fmla="*/ -173 h 303774"/>
                <a:gd name="connsiteX6" fmla="*/ 239904 w 246901"/>
                <a:gd name="connsiteY6" fmla="*/ 60762 h 303774"/>
                <a:gd name="connsiteX7" fmla="*/ 194315 w 246901"/>
                <a:gd name="connsiteY7" fmla="*/ 89199 h 303774"/>
                <a:gd name="connsiteX8" fmla="*/ 133380 w 246901"/>
                <a:gd name="connsiteY8" fmla="*/ 49929 h 303774"/>
                <a:gd name="connsiteX9" fmla="*/ 59354 w 246901"/>
                <a:gd name="connsiteY9" fmla="*/ 154197 h 303774"/>
                <a:gd name="connsiteX10" fmla="*/ 125706 w 246901"/>
                <a:gd name="connsiteY10" fmla="*/ 253950 h 303774"/>
                <a:gd name="connsiteX11" fmla="*/ 188447 w 246901"/>
                <a:gd name="connsiteY11" fmla="*/ 192112 h 303774"/>
                <a:gd name="connsiteX12" fmla="*/ 147372 w 246901"/>
                <a:gd name="connsiteY12" fmla="*/ 192112 h 303774"/>
                <a:gd name="connsiteX13" fmla="*/ 147372 w 246901"/>
                <a:gd name="connsiteY13" fmla="*/ 143815 h 303774"/>
                <a:gd name="connsiteX14" fmla="*/ 246674 w 246901"/>
                <a:gd name="connsiteY14" fmla="*/ 143815 h 303774"/>
                <a:gd name="connsiteX15" fmla="*/ 246674 w 246901"/>
                <a:gd name="connsiteY15" fmla="*/ 298636 h 30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6901" h="303774">
                  <a:moveTo>
                    <a:pt x="246223" y="298636"/>
                  </a:moveTo>
                  <a:lnTo>
                    <a:pt x="191607" y="298636"/>
                  </a:lnTo>
                  <a:lnTo>
                    <a:pt x="191607" y="248082"/>
                  </a:lnTo>
                  <a:cubicBezTo>
                    <a:pt x="176711" y="285546"/>
                    <a:pt x="150532" y="303601"/>
                    <a:pt x="112165" y="303601"/>
                  </a:cubicBezTo>
                  <a:cubicBezTo>
                    <a:pt x="44910" y="303601"/>
                    <a:pt x="-227" y="243117"/>
                    <a:pt x="-227" y="153745"/>
                  </a:cubicBezTo>
                  <a:cubicBezTo>
                    <a:pt x="-227" y="59859"/>
                    <a:pt x="51229" y="-173"/>
                    <a:pt x="132477" y="-173"/>
                  </a:cubicBezTo>
                  <a:cubicBezTo>
                    <a:pt x="178066" y="-173"/>
                    <a:pt x="213273" y="19687"/>
                    <a:pt x="239904" y="60762"/>
                  </a:cubicBezTo>
                  <a:lnTo>
                    <a:pt x="194315" y="89199"/>
                  </a:lnTo>
                  <a:cubicBezTo>
                    <a:pt x="178066" y="62116"/>
                    <a:pt x="158656" y="49929"/>
                    <a:pt x="133380" y="49929"/>
                  </a:cubicBezTo>
                  <a:cubicBezTo>
                    <a:pt x="89596" y="49929"/>
                    <a:pt x="59354" y="92358"/>
                    <a:pt x="59354" y="154197"/>
                  </a:cubicBezTo>
                  <a:cubicBezTo>
                    <a:pt x="59354" y="213778"/>
                    <a:pt x="86437" y="253950"/>
                    <a:pt x="125706" y="253950"/>
                  </a:cubicBezTo>
                  <a:cubicBezTo>
                    <a:pt x="159108" y="253950"/>
                    <a:pt x="185739" y="227319"/>
                    <a:pt x="188447" y="192112"/>
                  </a:cubicBezTo>
                  <a:lnTo>
                    <a:pt x="147372" y="192112"/>
                  </a:lnTo>
                  <a:lnTo>
                    <a:pt x="147372" y="143815"/>
                  </a:lnTo>
                  <a:lnTo>
                    <a:pt x="246674" y="143815"/>
                  </a:lnTo>
                  <a:lnTo>
                    <a:pt x="246674" y="298636"/>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7" name="Freeform: Shape 46">
              <a:extLst>
                <a:ext uri="{FF2B5EF4-FFF2-40B4-BE49-F238E27FC236}">
                  <a16:creationId xmlns:a16="http://schemas.microsoft.com/office/drawing/2014/main" id="{ABE4C2AA-3368-7BCE-B301-57D8DD718086}"/>
                </a:ext>
              </a:extLst>
            </p:cNvPr>
            <p:cNvSpPr/>
            <p:nvPr/>
          </p:nvSpPr>
          <p:spPr>
            <a:xfrm>
              <a:off x="1148784" y="389743"/>
              <a:ext cx="175133" cy="212596"/>
            </a:xfrm>
            <a:custGeom>
              <a:avLst/>
              <a:gdLst>
                <a:gd name="connsiteX0" fmla="*/ -227 w 175133"/>
                <a:gd name="connsiteY0" fmla="*/ -173 h 212596"/>
                <a:gd name="connsiteX1" fmla="*/ 85985 w 175133"/>
                <a:gd name="connsiteY1" fmla="*/ -173 h 212596"/>
                <a:gd name="connsiteX2" fmla="*/ 85985 w 175133"/>
                <a:gd name="connsiteY2" fmla="*/ 46318 h 212596"/>
                <a:gd name="connsiteX3" fmla="*/ 150983 w 175133"/>
                <a:gd name="connsiteY3" fmla="*/ -173 h 212596"/>
                <a:gd name="connsiteX4" fmla="*/ 174906 w 175133"/>
                <a:gd name="connsiteY4" fmla="*/ -173 h 212596"/>
                <a:gd name="connsiteX5" fmla="*/ 174906 w 175133"/>
                <a:gd name="connsiteY5" fmla="*/ 50832 h 212596"/>
                <a:gd name="connsiteX6" fmla="*/ 141053 w 175133"/>
                <a:gd name="connsiteY6" fmla="*/ 50832 h 212596"/>
                <a:gd name="connsiteX7" fmla="*/ 87791 w 175133"/>
                <a:gd name="connsiteY7" fmla="*/ 96421 h 212596"/>
                <a:gd name="connsiteX8" fmla="*/ 87791 w 175133"/>
                <a:gd name="connsiteY8" fmla="*/ 212424 h 212596"/>
                <a:gd name="connsiteX9" fmla="*/ 31369 w 175133"/>
                <a:gd name="connsiteY9" fmla="*/ 212424 h 212596"/>
                <a:gd name="connsiteX10" fmla="*/ 31369 w 175133"/>
                <a:gd name="connsiteY10" fmla="*/ 44061 h 212596"/>
                <a:gd name="connsiteX11" fmla="*/ -227 w 175133"/>
                <a:gd name="connsiteY11" fmla="*/ 44061 h 21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133" h="212596">
                  <a:moveTo>
                    <a:pt x="-227" y="-173"/>
                  </a:moveTo>
                  <a:lnTo>
                    <a:pt x="85985" y="-173"/>
                  </a:lnTo>
                  <a:lnTo>
                    <a:pt x="85985" y="46318"/>
                  </a:lnTo>
                  <a:cubicBezTo>
                    <a:pt x="96818" y="17430"/>
                    <a:pt x="118936" y="-173"/>
                    <a:pt x="150983" y="-173"/>
                  </a:cubicBezTo>
                  <a:lnTo>
                    <a:pt x="174906" y="-173"/>
                  </a:lnTo>
                  <a:lnTo>
                    <a:pt x="174906" y="50832"/>
                  </a:lnTo>
                  <a:lnTo>
                    <a:pt x="141053" y="50832"/>
                  </a:lnTo>
                  <a:cubicBezTo>
                    <a:pt x="105846" y="50832"/>
                    <a:pt x="87791" y="65727"/>
                    <a:pt x="87791" y="96421"/>
                  </a:cubicBezTo>
                  <a:lnTo>
                    <a:pt x="87791" y="212424"/>
                  </a:lnTo>
                  <a:lnTo>
                    <a:pt x="31369" y="212424"/>
                  </a:lnTo>
                  <a:lnTo>
                    <a:pt x="31369" y="44061"/>
                  </a:lnTo>
                  <a:lnTo>
                    <a:pt x="-227" y="44061"/>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8" name="Freeform: Shape 47">
              <a:extLst>
                <a:ext uri="{FF2B5EF4-FFF2-40B4-BE49-F238E27FC236}">
                  <a16:creationId xmlns:a16="http://schemas.microsoft.com/office/drawing/2014/main" id="{AA37E00A-A19F-61B6-F529-A9DFC6179D97}"/>
                </a:ext>
              </a:extLst>
            </p:cNvPr>
            <p:cNvSpPr/>
            <p:nvPr/>
          </p:nvSpPr>
          <p:spPr>
            <a:xfrm>
              <a:off x="1337007" y="384326"/>
              <a:ext cx="219367" cy="222978"/>
            </a:xfrm>
            <a:custGeom>
              <a:avLst/>
              <a:gdLst>
                <a:gd name="connsiteX0" fmla="*/ -227 w 219367"/>
                <a:gd name="connsiteY0" fmla="*/ 111316 h 222978"/>
                <a:gd name="connsiteX1" fmla="*/ 109457 w 219367"/>
                <a:gd name="connsiteY1" fmla="*/ -173 h 222978"/>
                <a:gd name="connsiteX2" fmla="*/ 219141 w 219367"/>
                <a:gd name="connsiteY2" fmla="*/ 111316 h 222978"/>
                <a:gd name="connsiteX3" fmla="*/ 109457 w 219367"/>
                <a:gd name="connsiteY3" fmla="*/ 222805 h 222978"/>
                <a:gd name="connsiteX4" fmla="*/ -227 w 219367"/>
                <a:gd name="connsiteY4" fmla="*/ 111316 h 222978"/>
                <a:gd name="connsiteX5" fmla="*/ 161816 w 219367"/>
                <a:gd name="connsiteY5" fmla="*/ 111316 h 222978"/>
                <a:gd name="connsiteX6" fmla="*/ 109457 w 219367"/>
                <a:gd name="connsiteY6" fmla="*/ 45867 h 222978"/>
                <a:gd name="connsiteX7" fmla="*/ 57097 w 219367"/>
                <a:gd name="connsiteY7" fmla="*/ 111316 h 222978"/>
                <a:gd name="connsiteX8" fmla="*/ 109457 w 219367"/>
                <a:gd name="connsiteY8" fmla="*/ 176765 h 222978"/>
                <a:gd name="connsiteX9" fmla="*/ 161816 w 219367"/>
                <a:gd name="connsiteY9" fmla="*/ 111316 h 22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367" h="222978">
                  <a:moveTo>
                    <a:pt x="-227" y="111316"/>
                  </a:moveTo>
                  <a:cubicBezTo>
                    <a:pt x="-227" y="44513"/>
                    <a:pt x="44007" y="-173"/>
                    <a:pt x="109457" y="-173"/>
                  </a:cubicBezTo>
                  <a:cubicBezTo>
                    <a:pt x="174906" y="-173"/>
                    <a:pt x="219141" y="44513"/>
                    <a:pt x="219141" y="111316"/>
                  </a:cubicBezTo>
                  <a:cubicBezTo>
                    <a:pt x="219141" y="178119"/>
                    <a:pt x="174906" y="222805"/>
                    <a:pt x="109457" y="222805"/>
                  </a:cubicBezTo>
                  <a:cubicBezTo>
                    <a:pt x="44007" y="222805"/>
                    <a:pt x="-227" y="178119"/>
                    <a:pt x="-227" y="111316"/>
                  </a:cubicBezTo>
                  <a:close/>
                  <a:moveTo>
                    <a:pt x="161816" y="111316"/>
                  </a:moveTo>
                  <a:cubicBezTo>
                    <a:pt x="161816" y="72047"/>
                    <a:pt x="140602" y="45867"/>
                    <a:pt x="109457" y="45867"/>
                  </a:cubicBezTo>
                  <a:cubicBezTo>
                    <a:pt x="78312" y="45867"/>
                    <a:pt x="57097" y="72498"/>
                    <a:pt x="57097" y="111316"/>
                  </a:cubicBezTo>
                  <a:cubicBezTo>
                    <a:pt x="57097" y="150134"/>
                    <a:pt x="78312" y="176765"/>
                    <a:pt x="109457" y="176765"/>
                  </a:cubicBezTo>
                  <a:cubicBezTo>
                    <a:pt x="140602" y="176765"/>
                    <a:pt x="161816" y="150586"/>
                    <a:pt x="161816" y="111316"/>
                  </a:cubicBez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49" name="Freeform: Shape 48">
              <a:extLst>
                <a:ext uri="{FF2B5EF4-FFF2-40B4-BE49-F238E27FC236}">
                  <a16:creationId xmlns:a16="http://schemas.microsoft.com/office/drawing/2014/main" id="{2F10AA66-4EDA-5528-5C7E-B52BB89A9613}"/>
                </a:ext>
              </a:extLst>
            </p:cNvPr>
            <p:cNvSpPr/>
            <p:nvPr/>
          </p:nvSpPr>
          <p:spPr>
            <a:xfrm>
              <a:off x="1584360" y="389743"/>
              <a:ext cx="227943" cy="216659"/>
            </a:xfrm>
            <a:custGeom>
              <a:avLst/>
              <a:gdLst>
                <a:gd name="connsiteX0" fmla="*/ 227265 w 227943"/>
                <a:gd name="connsiteY0" fmla="*/ 212424 h 216659"/>
                <a:gd name="connsiteX1" fmla="*/ 141053 w 227943"/>
                <a:gd name="connsiteY1" fmla="*/ 212424 h 216659"/>
                <a:gd name="connsiteX2" fmla="*/ 141053 w 227943"/>
                <a:gd name="connsiteY2" fmla="*/ 170446 h 216659"/>
                <a:gd name="connsiteX3" fmla="*/ 72444 w 227943"/>
                <a:gd name="connsiteY3" fmla="*/ 216486 h 216659"/>
                <a:gd name="connsiteX4" fmla="*/ -227 w 227943"/>
                <a:gd name="connsiteY4" fmla="*/ 133885 h 216659"/>
                <a:gd name="connsiteX5" fmla="*/ -227 w 227943"/>
                <a:gd name="connsiteY5" fmla="*/ -173 h 216659"/>
                <a:gd name="connsiteX6" fmla="*/ 56195 w 227943"/>
                <a:gd name="connsiteY6" fmla="*/ -173 h 216659"/>
                <a:gd name="connsiteX7" fmla="*/ 56195 w 227943"/>
                <a:gd name="connsiteY7" fmla="*/ 126211 h 216659"/>
                <a:gd name="connsiteX8" fmla="*/ 95013 w 227943"/>
                <a:gd name="connsiteY8" fmla="*/ 169995 h 216659"/>
                <a:gd name="connsiteX9" fmla="*/ 139699 w 227943"/>
                <a:gd name="connsiteY9" fmla="*/ 127114 h 216659"/>
                <a:gd name="connsiteX10" fmla="*/ 139699 w 227943"/>
                <a:gd name="connsiteY10" fmla="*/ -173 h 216659"/>
                <a:gd name="connsiteX11" fmla="*/ 196120 w 227943"/>
                <a:gd name="connsiteY11" fmla="*/ -173 h 216659"/>
                <a:gd name="connsiteX12" fmla="*/ 196120 w 227943"/>
                <a:gd name="connsiteY12" fmla="*/ 167738 h 216659"/>
                <a:gd name="connsiteX13" fmla="*/ 227717 w 227943"/>
                <a:gd name="connsiteY13" fmla="*/ 167738 h 216659"/>
                <a:gd name="connsiteX14" fmla="*/ 227717 w 227943"/>
                <a:gd name="connsiteY14" fmla="*/ 212424 h 21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943" h="216659">
                  <a:moveTo>
                    <a:pt x="227265" y="212424"/>
                  </a:moveTo>
                  <a:lnTo>
                    <a:pt x="141053" y="212424"/>
                  </a:lnTo>
                  <a:lnTo>
                    <a:pt x="141053" y="170446"/>
                  </a:lnTo>
                  <a:cubicBezTo>
                    <a:pt x="127963" y="198883"/>
                    <a:pt x="104040" y="216486"/>
                    <a:pt x="72444" y="216486"/>
                  </a:cubicBezTo>
                  <a:cubicBezTo>
                    <a:pt x="27307" y="216486"/>
                    <a:pt x="-227" y="182182"/>
                    <a:pt x="-227" y="133885"/>
                  </a:cubicBezTo>
                  <a:lnTo>
                    <a:pt x="-227" y="-173"/>
                  </a:lnTo>
                  <a:lnTo>
                    <a:pt x="56195" y="-173"/>
                  </a:lnTo>
                  <a:lnTo>
                    <a:pt x="56195" y="126211"/>
                  </a:lnTo>
                  <a:cubicBezTo>
                    <a:pt x="56195" y="156453"/>
                    <a:pt x="71993" y="169995"/>
                    <a:pt x="95013" y="169995"/>
                  </a:cubicBezTo>
                  <a:cubicBezTo>
                    <a:pt x="119053" y="170130"/>
                    <a:pt x="138846" y="151136"/>
                    <a:pt x="139699" y="127114"/>
                  </a:cubicBezTo>
                  <a:lnTo>
                    <a:pt x="139699" y="-173"/>
                  </a:lnTo>
                  <a:lnTo>
                    <a:pt x="196120" y="-173"/>
                  </a:lnTo>
                  <a:lnTo>
                    <a:pt x="196120" y="167738"/>
                  </a:lnTo>
                  <a:lnTo>
                    <a:pt x="227717" y="167738"/>
                  </a:lnTo>
                  <a:lnTo>
                    <a:pt x="227717" y="212424"/>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50" name="Freeform: Shape 49">
              <a:extLst>
                <a:ext uri="{FF2B5EF4-FFF2-40B4-BE49-F238E27FC236}">
                  <a16:creationId xmlns:a16="http://schemas.microsoft.com/office/drawing/2014/main" id="{FA4C5315-4411-BFE9-D876-1B87346C4C82}"/>
                </a:ext>
              </a:extLst>
            </p:cNvPr>
            <p:cNvSpPr/>
            <p:nvPr/>
          </p:nvSpPr>
          <p:spPr>
            <a:xfrm>
              <a:off x="1814109" y="385229"/>
              <a:ext cx="241936" cy="297003"/>
            </a:xfrm>
            <a:custGeom>
              <a:avLst/>
              <a:gdLst>
                <a:gd name="connsiteX0" fmla="*/ -227 w 241936"/>
                <a:gd name="connsiteY0" fmla="*/ 4341 h 297003"/>
                <a:gd name="connsiteX1" fmla="*/ 85985 w 241936"/>
                <a:gd name="connsiteY1" fmla="*/ 4341 h 297003"/>
                <a:gd name="connsiteX2" fmla="*/ 85985 w 241936"/>
                <a:gd name="connsiteY2" fmla="*/ 44964 h 297003"/>
                <a:gd name="connsiteX3" fmla="*/ 153691 w 241936"/>
                <a:gd name="connsiteY3" fmla="*/ -173 h 297003"/>
                <a:gd name="connsiteX4" fmla="*/ 241709 w 241936"/>
                <a:gd name="connsiteY4" fmla="*/ 110413 h 297003"/>
                <a:gd name="connsiteX5" fmla="*/ 153691 w 241936"/>
                <a:gd name="connsiteY5" fmla="*/ 221000 h 297003"/>
                <a:gd name="connsiteX6" fmla="*/ 87791 w 241936"/>
                <a:gd name="connsiteY6" fmla="*/ 179473 h 297003"/>
                <a:gd name="connsiteX7" fmla="*/ 87791 w 241936"/>
                <a:gd name="connsiteY7" fmla="*/ 296831 h 297003"/>
                <a:gd name="connsiteX8" fmla="*/ 31369 w 241936"/>
                <a:gd name="connsiteY8" fmla="*/ 296831 h 297003"/>
                <a:gd name="connsiteX9" fmla="*/ 31369 w 241936"/>
                <a:gd name="connsiteY9" fmla="*/ 48575 h 297003"/>
                <a:gd name="connsiteX10" fmla="*/ -227 w 241936"/>
                <a:gd name="connsiteY10" fmla="*/ 48575 h 297003"/>
                <a:gd name="connsiteX11" fmla="*/ 184836 w 241936"/>
                <a:gd name="connsiteY11" fmla="*/ 110413 h 297003"/>
                <a:gd name="connsiteX12" fmla="*/ 133831 w 241936"/>
                <a:gd name="connsiteY12" fmla="*/ 45867 h 297003"/>
                <a:gd name="connsiteX13" fmla="*/ 85985 w 241936"/>
                <a:gd name="connsiteY13" fmla="*/ 94615 h 297003"/>
                <a:gd name="connsiteX14" fmla="*/ 85985 w 241936"/>
                <a:gd name="connsiteY14" fmla="*/ 126663 h 297003"/>
                <a:gd name="connsiteX15" fmla="*/ 133831 w 241936"/>
                <a:gd name="connsiteY15" fmla="*/ 175411 h 297003"/>
                <a:gd name="connsiteX16" fmla="*/ 184836 w 241936"/>
                <a:gd name="connsiteY16" fmla="*/ 110413 h 29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936" h="297003">
                  <a:moveTo>
                    <a:pt x="-227" y="4341"/>
                  </a:moveTo>
                  <a:lnTo>
                    <a:pt x="85985" y="4341"/>
                  </a:lnTo>
                  <a:lnTo>
                    <a:pt x="85985" y="44964"/>
                  </a:lnTo>
                  <a:cubicBezTo>
                    <a:pt x="99075" y="16528"/>
                    <a:pt x="122998" y="-173"/>
                    <a:pt x="153691" y="-173"/>
                  </a:cubicBezTo>
                  <a:cubicBezTo>
                    <a:pt x="205148" y="-173"/>
                    <a:pt x="241709" y="45867"/>
                    <a:pt x="241709" y="110413"/>
                  </a:cubicBezTo>
                  <a:cubicBezTo>
                    <a:pt x="241709" y="174960"/>
                    <a:pt x="204696" y="221000"/>
                    <a:pt x="153691" y="221000"/>
                  </a:cubicBezTo>
                  <a:cubicBezTo>
                    <a:pt x="124352" y="221000"/>
                    <a:pt x="101332" y="206104"/>
                    <a:pt x="87791" y="179473"/>
                  </a:cubicBezTo>
                  <a:lnTo>
                    <a:pt x="87791" y="296831"/>
                  </a:lnTo>
                  <a:lnTo>
                    <a:pt x="31369" y="296831"/>
                  </a:lnTo>
                  <a:lnTo>
                    <a:pt x="31369" y="48575"/>
                  </a:lnTo>
                  <a:lnTo>
                    <a:pt x="-227" y="48575"/>
                  </a:lnTo>
                  <a:close/>
                  <a:moveTo>
                    <a:pt x="184836" y="110413"/>
                  </a:moveTo>
                  <a:cubicBezTo>
                    <a:pt x="184836" y="70241"/>
                    <a:pt x="165878" y="45867"/>
                    <a:pt x="133831" y="45867"/>
                  </a:cubicBezTo>
                  <a:cubicBezTo>
                    <a:pt x="105846" y="45867"/>
                    <a:pt x="85985" y="65727"/>
                    <a:pt x="85985" y="94615"/>
                  </a:cubicBezTo>
                  <a:lnTo>
                    <a:pt x="85985" y="126663"/>
                  </a:lnTo>
                  <a:cubicBezTo>
                    <a:pt x="85985" y="155551"/>
                    <a:pt x="105846" y="175411"/>
                    <a:pt x="133831" y="175411"/>
                  </a:cubicBezTo>
                  <a:cubicBezTo>
                    <a:pt x="165878" y="174960"/>
                    <a:pt x="184836" y="150586"/>
                    <a:pt x="184836" y="110413"/>
                  </a:cubicBez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51" name="Freeform: Shape 50">
              <a:extLst>
                <a:ext uri="{FF2B5EF4-FFF2-40B4-BE49-F238E27FC236}">
                  <a16:creationId xmlns:a16="http://schemas.microsoft.com/office/drawing/2014/main" id="{1128F4A9-C4D7-08B5-6DC9-1DFFAA0E7532}"/>
                </a:ext>
              </a:extLst>
            </p:cNvPr>
            <p:cNvSpPr/>
            <p:nvPr/>
          </p:nvSpPr>
          <p:spPr>
            <a:xfrm>
              <a:off x="557033" y="780181"/>
              <a:ext cx="240130" cy="49199"/>
            </a:xfrm>
            <a:custGeom>
              <a:avLst/>
              <a:gdLst>
                <a:gd name="connsiteX0" fmla="*/ 0 w 240130"/>
                <a:gd name="connsiteY0" fmla="*/ 0 h 49199"/>
                <a:gd name="connsiteX1" fmla="*/ 240131 w 240130"/>
                <a:gd name="connsiteY1" fmla="*/ 0 h 49199"/>
                <a:gd name="connsiteX2" fmla="*/ 240131 w 240130"/>
                <a:gd name="connsiteY2" fmla="*/ 49200 h 49199"/>
                <a:gd name="connsiteX3" fmla="*/ 0 w 240130"/>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40130" h="49199">
                  <a:moveTo>
                    <a:pt x="0" y="0"/>
                  </a:moveTo>
                  <a:lnTo>
                    <a:pt x="240131" y="0"/>
                  </a:lnTo>
                  <a:lnTo>
                    <a:pt x="240131" y="49200"/>
                  </a:lnTo>
                  <a:lnTo>
                    <a:pt x="0" y="49200"/>
                  </a:lnTo>
                  <a:close/>
                </a:path>
              </a:pathLst>
            </a:custGeom>
            <a:solidFill>
              <a:schemeClr val="accent5"/>
            </a:solidFill>
            <a:ln w="4492" cap="flat">
              <a:noFill/>
              <a:prstDash val="solid"/>
              <a:miter/>
            </a:ln>
          </p:spPr>
          <p:txBody>
            <a:bodyPr rtlCol="0" anchor="ctr"/>
            <a:lstStyle/>
            <a:p>
              <a:endParaRPr lang="en-GB" b="0" i="0">
                <a:latin typeface="BT Curve" panose="020B0503020203020204" pitchFamily="34" charset="0"/>
              </a:endParaRPr>
            </a:p>
          </p:txBody>
        </p:sp>
        <p:sp>
          <p:nvSpPr>
            <p:cNvPr id="52" name="Freeform: Shape 51">
              <a:extLst>
                <a:ext uri="{FF2B5EF4-FFF2-40B4-BE49-F238E27FC236}">
                  <a16:creationId xmlns:a16="http://schemas.microsoft.com/office/drawing/2014/main" id="{B5084310-A0A4-5EC8-D0D1-C4318E9E0732}"/>
                </a:ext>
              </a:extLst>
            </p:cNvPr>
            <p:cNvSpPr/>
            <p:nvPr/>
          </p:nvSpPr>
          <p:spPr>
            <a:xfrm>
              <a:off x="306070" y="730981"/>
              <a:ext cx="250963" cy="49199"/>
            </a:xfrm>
            <a:custGeom>
              <a:avLst/>
              <a:gdLst>
                <a:gd name="connsiteX0" fmla="*/ 0 w 250963"/>
                <a:gd name="connsiteY0" fmla="*/ 0 h 49199"/>
                <a:gd name="connsiteX1" fmla="*/ 250964 w 250963"/>
                <a:gd name="connsiteY1" fmla="*/ 0 h 49199"/>
                <a:gd name="connsiteX2" fmla="*/ 250964 w 250963"/>
                <a:gd name="connsiteY2" fmla="*/ 49200 h 49199"/>
                <a:gd name="connsiteX3" fmla="*/ 0 w 250963"/>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50963" h="49199">
                  <a:moveTo>
                    <a:pt x="0" y="0"/>
                  </a:moveTo>
                  <a:lnTo>
                    <a:pt x="250964" y="0"/>
                  </a:lnTo>
                  <a:lnTo>
                    <a:pt x="250964" y="49200"/>
                  </a:lnTo>
                  <a:lnTo>
                    <a:pt x="0" y="49200"/>
                  </a:lnTo>
                  <a:close/>
                </a:path>
              </a:pathLst>
            </a:custGeom>
            <a:solidFill>
              <a:schemeClr val="accent1"/>
            </a:solidFill>
            <a:ln w="4492" cap="flat">
              <a:noFill/>
              <a:prstDash val="solid"/>
              <a:miter/>
            </a:ln>
          </p:spPr>
          <p:txBody>
            <a:bodyPr rtlCol="0" anchor="ctr"/>
            <a:lstStyle/>
            <a:p>
              <a:endParaRPr lang="en-GB" b="0" i="0">
                <a:latin typeface="BT Curve" panose="020B0503020203020204" pitchFamily="34" charset="0"/>
              </a:endParaRPr>
            </a:p>
          </p:txBody>
        </p:sp>
        <p:sp>
          <p:nvSpPr>
            <p:cNvPr id="53" name="Freeform: Shape 52">
              <a:extLst>
                <a:ext uri="{FF2B5EF4-FFF2-40B4-BE49-F238E27FC236}">
                  <a16:creationId xmlns:a16="http://schemas.microsoft.com/office/drawing/2014/main" id="{EB170361-FAE6-BAFD-9390-B9F847406E08}"/>
                </a:ext>
              </a:extLst>
            </p:cNvPr>
            <p:cNvSpPr/>
            <p:nvPr/>
          </p:nvSpPr>
          <p:spPr>
            <a:xfrm>
              <a:off x="1236351" y="730981"/>
              <a:ext cx="173778" cy="49199"/>
            </a:xfrm>
            <a:custGeom>
              <a:avLst/>
              <a:gdLst>
                <a:gd name="connsiteX0" fmla="*/ 0 w 173778"/>
                <a:gd name="connsiteY0" fmla="*/ 0 h 49199"/>
                <a:gd name="connsiteX1" fmla="*/ 173779 w 173778"/>
                <a:gd name="connsiteY1" fmla="*/ 0 h 49199"/>
                <a:gd name="connsiteX2" fmla="*/ 173779 w 173778"/>
                <a:gd name="connsiteY2" fmla="*/ 49200 h 49199"/>
                <a:gd name="connsiteX3" fmla="*/ 0 w 173778"/>
                <a:gd name="connsiteY3" fmla="*/ 49200 h 49199"/>
              </a:gdLst>
              <a:ahLst/>
              <a:cxnLst>
                <a:cxn ang="0">
                  <a:pos x="connsiteX0" y="connsiteY0"/>
                </a:cxn>
                <a:cxn ang="0">
                  <a:pos x="connsiteX1" y="connsiteY1"/>
                </a:cxn>
                <a:cxn ang="0">
                  <a:pos x="connsiteX2" y="connsiteY2"/>
                </a:cxn>
                <a:cxn ang="0">
                  <a:pos x="connsiteX3" y="connsiteY3"/>
                </a:cxn>
              </a:cxnLst>
              <a:rect l="l" t="t" r="r" b="b"/>
              <a:pathLst>
                <a:path w="173778" h="49199">
                  <a:moveTo>
                    <a:pt x="0" y="0"/>
                  </a:moveTo>
                  <a:lnTo>
                    <a:pt x="173779" y="0"/>
                  </a:lnTo>
                  <a:lnTo>
                    <a:pt x="173779" y="49200"/>
                  </a:lnTo>
                  <a:lnTo>
                    <a:pt x="0" y="49200"/>
                  </a:lnTo>
                  <a:close/>
                </a:path>
              </a:pathLst>
            </a:custGeom>
            <a:solidFill>
              <a:schemeClr val="accent3"/>
            </a:solidFill>
            <a:ln w="4492" cap="flat">
              <a:noFill/>
              <a:prstDash val="solid"/>
              <a:miter/>
            </a:ln>
          </p:spPr>
          <p:txBody>
            <a:bodyPr rtlCol="0" anchor="ctr"/>
            <a:lstStyle/>
            <a:p>
              <a:endParaRPr lang="en-GB" b="0" i="0">
                <a:latin typeface="BT Curve" panose="020B0503020203020204" pitchFamily="34" charset="0"/>
              </a:endParaRPr>
            </a:p>
          </p:txBody>
        </p:sp>
        <p:sp>
          <p:nvSpPr>
            <p:cNvPr id="54" name="Freeform: Shape 53">
              <a:extLst>
                <a:ext uri="{FF2B5EF4-FFF2-40B4-BE49-F238E27FC236}">
                  <a16:creationId xmlns:a16="http://schemas.microsoft.com/office/drawing/2014/main" id="{3A5EF38B-D56C-CE2B-FD4B-96294971A773}"/>
                </a:ext>
              </a:extLst>
            </p:cNvPr>
            <p:cNvSpPr/>
            <p:nvPr/>
          </p:nvSpPr>
          <p:spPr>
            <a:xfrm>
              <a:off x="1410581" y="780181"/>
              <a:ext cx="173778" cy="49199"/>
            </a:xfrm>
            <a:custGeom>
              <a:avLst/>
              <a:gdLst>
                <a:gd name="connsiteX0" fmla="*/ 0 w 173778"/>
                <a:gd name="connsiteY0" fmla="*/ 0 h 49199"/>
                <a:gd name="connsiteX1" fmla="*/ 173779 w 173778"/>
                <a:gd name="connsiteY1" fmla="*/ 0 h 49199"/>
                <a:gd name="connsiteX2" fmla="*/ 173779 w 173778"/>
                <a:gd name="connsiteY2" fmla="*/ 49200 h 49199"/>
                <a:gd name="connsiteX3" fmla="*/ 0 w 173778"/>
                <a:gd name="connsiteY3" fmla="*/ 49200 h 49199"/>
              </a:gdLst>
              <a:ahLst/>
              <a:cxnLst>
                <a:cxn ang="0">
                  <a:pos x="connsiteX0" y="connsiteY0"/>
                </a:cxn>
                <a:cxn ang="0">
                  <a:pos x="connsiteX1" y="connsiteY1"/>
                </a:cxn>
                <a:cxn ang="0">
                  <a:pos x="connsiteX2" y="connsiteY2"/>
                </a:cxn>
                <a:cxn ang="0">
                  <a:pos x="connsiteX3" y="connsiteY3"/>
                </a:cxn>
              </a:cxnLst>
              <a:rect l="l" t="t" r="r" b="b"/>
              <a:pathLst>
                <a:path w="173778" h="49199">
                  <a:moveTo>
                    <a:pt x="0" y="0"/>
                  </a:moveTo>
                  <a:lnTo>
                    <a:pt x="173779" y="0"/>
                  </a:lnTo>
                  <a:lnTo>
                    <a:pt x="173779" y="49200"/>
                  </a:lnTo>
                  <a:lnTo>
                    <a:pt x="0" y="49200"/>
                  </a:lnTo>
                  <a:close/>
                </a:path>
              </a:pathLst>
            </a:custGeom>
            <a:solidFill>
              <a:schemeClr val="tx2"/>
            </a:solidFill>
            <a:ln w="4492" cap="flat">
              <a:noFill/>
              <a:prstDash val="solid"/>
              <a:miter/>
            </a:ln>
          </p:spPr>
          <p:txBody>
            <a:bodyPr rtlCol="0" anchor="ctr"/>
            <a:lstStyle/>
            <a:p>
              <a:endParaRPr lang="en-GB" b="0" i="0">
                <a:latin typeface="BT Curve" panose="020B0503020203020204" pitchFamily="34" charset="0"/>
              </a:endParaRPr>
            </a:p>
          </p:txBody>
        </p:sp>
        <p:sp>
          <p:nvSpPr>
            <p:cNvPr id="55" name="Freeform: Shape 54">
              <a:extLst>
                <a:ext uri="{FF2B5EF4-FFF2-40B4-BE49-F238E27FC236}">
                  <a16:creationId xmlns:a16="http://schemas.microsoft.com/office/drawing/2014/main" id="{C167B2E1-6A55-ABEB-017E-A09541659518}"/>
                </a:ext>
              </a:extLst>
            </p:cNvPr>
            <p:cNvSpPr/>
            <p:nvPr/>
          </p:nvSpPr>
          <p:spPr>
            <a:xfrm>
              <a:off x="1584360" y="829380"/>
              <a:ext cx="227040" cy="49199"/>
            </a:xfrm>
            <a:custGeom>
              <a:avLst/>
              <a:gdLst>
                <a:gd name="connsiteX0" fmla="*/ 0 w 227040"/>
                <a:gd name="connsiteY0" fmla="*/ 0 h 49199"/>
                <a:gd name="connsiteX1" fmla="*/ 227041 w 227040"/>
                <a:gd name="connsiteY1" fmla="*/ 0 h 49199"/>
                <a:gd name="connsiteX2" fmla="*/ 227041 w 227040"/>
                <a:gd name="connsiteY2" fmla="*/ 49200 h 49199"/>
                <a:gd name="connsiteX3" fmla="*/ 0 w 227040"/>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27040" h="49199">
                  <a:moveTo>
                    <a:pt x="0" y="0"/>
                  </a:moveTo>
                  <a:lnTo>
                    <a:pt x="227041" y="0"/>
                  </a:lnTo>
                  <a:lnTo>
                    <a:pt x="227041" y="49200"/>
                  </a:lnTo>
                  <a:lnTo>
                    <a:pt x="0" y="49200"/>
                  </a:lnTo>
                  <a:close/>
                </a:path>
              </a:pathLst>
            </a:custGeom>
            <a:solidFill>
              <a:schemeClr val="accent4"/>
            </a:solidFill>
            <a:ln w="4492" cap="flat">
              <a:noFill/>
              <a:prstDash val="solid"/>
              <a:miter/>
            </a:ln>
          </p:spPr>
          <p:txBody>
            <a:bodyPr rtlCol="0" anchor="ctr"/>
            <a:lstStyle/>
            <a:p>
              <a:endParaRPr lang="en-GB" b="0" i="0">
                <a:latin typeface="BT Curve" panose="020B0503020203020204" pitchFamily="34" charset="0"/>
              </a:endParaRPr>
            </a:p>
          </p:txBody>
        </p:sp>
        <p:sp>
          <p:nvSpPr>
            <p:cNvPr id="56" name="Freeform: Shape 55">
              <a:extLst>
                <a:ext uri="{FF2B5EF4-FFF2-40B4-BE49-F238E27FC236}">
                  <a16:creationId xmlns:a16="http://schemas.microsoft.com/office/drawing/2014/main" id="{B7641DDD-DF3E-024F-3C86-CC2CE5298CD0}"/>
                </a:ext>
              </a:extLst>
            </p:cNvPr>
            <p:cNvSpPr/>
            <p:nvPr/>
          </p:nvSpPr>
          <p:spPr>
            <a:xfrm>
              <a:off x="1811852" y="780181"/>
              <a:ext cx="235165" cy="49199"/>
            </a:xfrm>
            <a:custGeom>
              <a:avLst/>
              <a:gdLst>
                <a:gd name="connsiteX0" fmla="*/ 0 w 235165"/>
                <a:gd name="connsiteY0" fmla="*/ 0 h 49199"/>
                <a:gd name="connsiteX1" fmla="*/ 235166 w 235165"/>
                <a:gd name="connsiteY1" fmla="*/ 0 h 49199"/>
                <a:gd name="connsiteX2" fmla="*/ 235166 w 235165"/>
                <a:gd name="connsiteY2" fmla="*/ 49200 h 49199"/>
                <a:gd name="connsiteX3" fmla="*/ 0 w 235165"/>
                <a:gd name="connsiteY3" fmla="*/ 49200 h 49199"/>
              </a:gdLst>
              <a:ahLst/>
              <a:cxnLst>
                <a:cxn ang="0">
                  <a:pos x="connsiteX0" y="connsiteY0"/>
                </a:cxn>
                <a:cxn ang="0">
                  <a:pos x="connsiteX1" y="connsiteY1"/>
                </a:cxn>
                <a:cxn ang="0">
                  <a:pos x="connsiteX2" y="connsiteY2"/>
                </a:cxn>
                <a:cxn ang="0">
                  <a:pos x="connsiteX3" y="connsiteY3"/>
                </a:cxn>
              </a:cxnLst>
              <a:rect l="l" t="t" r="r" b="b"/>
              <a:pathLst>
                <a:path w="235165" h="49199">
                  <a:moveTo>
                    <a:pt x="0" y="0"/>
                  </a:moveTo>
                  <a:lnTo>
                    <a:pt x="235166" y="0"/>
                  </a:lnTo>
                  <a:lnTo>
                    <a:pt x="235166" y="49200"/>
                  </a:lnTo>
                  <a:lnTo>
                    <a:pt x="0" y="49200"/>
                  </a:lnTo>
                  <a:close/>
                </a:path>
              </a:pathLst>
            </a:custGeom>
            <a:solidFill>
              <a:schemeClr val="tx1"/>
            </a:solidFill>
            <a:ln w="4492" cap="flat">
              <a:noFill/>
              <a:prstDash val="solid"/>
              <a:miter/>
            </a:ln>
          </p:spPr>
          <p:txBody>
            <a:bodyPr rtlCol="0" anchor="ctr"/>
            <a:lstStyle/>
            <a:p>
              <a:endParaRPr lang="en-GB" b="0" i="0">
                <a:latin typeface="BT Curve" panose="020B0503020203020204" pitchFamily="34" charset="0"/>
              </a:endParaRPr>
            </a:p>
          </p:txBody>
        </p:sp>
        <p:sp>
          <p:nvSpPr>
            <p:cNvPr id="57" name="Freeform: Shape 56">
              <a:extLst>
                <a:ext uri="{FF2B5EF4-FFF2-40B4-BE49-F238E27FC236}">
                  <a16:creationId xmlns:a16="http://schemas.microsoft.com/office/drawing/2014/main" id="{CF0C0A78-D718-5044-C79C-E6E6B90089B1}"/>
                </a:ext>
              </a:extLst>
            </p:cNvPr>
            <p:cNvSpPr/>
            <p:nvPr/>
          </p:nvSpPr>
          <p:spPr>
            <a:xfrm>
              <a:off x="796713" y="730981"/>
              <a:ext cx="98399" cy="49199"/>
            </a:xfrm>
            <a:custGeom>
              <a:avLst/>
              <a:gdLst>
                <a:gd name="connsiteX0" fmla="*/ 0 w 98399"/>
                <a:gd name="connsiteY0" fmla="*/ 0 h 49199"/>
                <a:gd name="connsiteX1" fmla="*/ 98399 w 98399"/>
                <a:gd name="connsiteY1" fmla="*/ 0 h 49199"/>
                <a:gd name="connsiteX2" fmla="*/ 98399 w 98399"/>
                <a:gd name="connsiteY2" fmla="*/ 49200 h 49199"/>
                <a:gd name="connsiteX3" fmla="*/ 0 w 98399"/>
                <a:gd name="connsiteY3" fmla="*/ 49200 h 49199"/>
              </a:gdLst>
              <a:ahLst/>
              <a:cxnLst>
                <a:cxn ang="0">
                  <a:pos x="connsiteX0" y="connsiteY0"/>
                </a:cxn>
                <a:cxn ang="0">
                  <a:pos x="connsiteX1" y="connsiteY1"/>
                </a:cxn>
                <a:cxn ang="0">
                  <a:pos x="connsiteX2" y="connsiteY2"/>
                </a:cxn>
                <a:cxn ang="0">
                  <a:pos x="connsiteX3" y="connsiteY3"/>
                </a:cxn>
              </a:cxnLst>
              <a:rect l="l" t="t" r="r" b="b"/>
              <a:pathLst>
                <a:path w="98399" h="49199">
                  <a:moveTo>
                    <a:pt x="0" y="0"/>
                  </a:moveTo>
                  <a:lnTo>
                    <a:pt x="98399" y="0"/>
                  </a:lnTo>
                  <a:lnTo>
                    <a:pt x="98399" y="49200"/>
                  </a:lnTo>
                  <a:lnTo>
                    <a:pt x="0" y="49200"/>
                  </a:lnTo>
                  <a:close/>
                </a:path>
              </a:pathLst>
            </a:custGeom>
            <a:solidFill>
              <a:schemeClr val="accent2"/>
            </a:solidFill>
            <a:ln w="4492" cap="flat">
              <a:noFill/>
              <a:prstDash val="solid"/>
              <a:miter/>
            </a:ln>
          </p:spPr>
          <p:txBody>
            <a:bodyPr rtlCol="0" anchor="ctr"/>
            <a:lstStyle/>
            <a:p>
              <a:endParaRPr lang="en-GB" b="0" i="0">
                <a:latin typeface="BT Curve" panose="020B0503020203020204" pitchFamily="34" charset="0"/>
              </a:endParaRPr>
            </a:p>
          </p:txBody>
        </p:sp>
        <p:sp>
          <p:nvSpPr>
            <p:cNvPr id="58" name="Freeform: Shape 57">
              <a:extLst>
                <a:ext uri="{FF2B5EF4-FFF2-40B4-BE49-F238E27FC236}">
                  <a16:creationId xmlns:a16="http://schemas.microsoft.com/office/drawing/2014/main" id="{0CFAF720-BA85-6BD4-F5BE-B4F515FF94E3}"/>
                </a:ext>
              </a:extLst>
            </p:cNvPr>
            <p:cNvSpPr/>
            <p:nvPr/>
          </p:nvSpPr>
          <p:spPr>
            <a:xfrm>
              <a:off x="895112" y="780181"/>
              <a:ext cx="341238" cy="49199"/>
            </a:xfrm>
            <a:custGeom>
              <a:avLst/>
              <a:gdLst>
                <a:gd name="connsiteX0" fmla="*/ 0 w 341238"/>
                <a:gd name="connsiteY0" fmla="*/ 0 h 49199"/>
                <a:gd name="connsiteX1" fmla="*/ 341239 w 341238"/>
                <a:gd name="connsiteY1" fmla="*/ 0 h 49199"/>
                <a:gd name="connsiteX2" fmla="*/ 341239 w 341238"/>
                <a:gd name="connsiteY2" fmla="*/ 49200 h 49199"/>
                <a:gd name="connsiteX3" fmla="*/ 0 w 341238"/>
                <a:gd name="connsiteY3" fmla="*/ 49200 h 49199"/>
              </a:gdLst>
              <a:ahLst/>
              <a:cxnLst>
                <a:cxn ang="0">
                  <a:pos x="connsiteX0" y="connsiteY0"/>
                </a:cxn>
                <a:cxn ang="0">
                  <a:pos x="connsiteX1" y="connsiteY1"/>
                </a:cxn>
                <a:cxn ang="0">
                  <a:pos x="connsiteX2" y="connsiteY2"/>
                </a:cxn>
                <a:cxn ang="0">
                  <a:pos x="connsiteX3" y="connsiteY3"/>
                </a:cxn>
              </a:cxnLst>
              <a:rect l="l" t="t" r="r" b="b"/>
              <a:pathLst>
                <a:path w="341238" h="49199">
                  <a:moveTo>
                    <a:pt x="0" y="0"/>
                  </a:moveTo>
                  <a:lnTo>
                    <a:pt x="341239" y="0"/>
                  </a:lnTo>
                  <a:lnTo>
                    <a:pt x="341239" y="49200"/>
                  </a:lnTo>
                  <a:lnTo>
                    <a:pt x="0" y="49200"/>
                  </a:lnTo>
                  <a:close/>
                </a:path>
              </a:pathLst>
            </a:custGeom>
            <a:solidFill>
              <a:schemeClr val="accent6"/>
            </a:solidFill>
            <a:ln w="4492" cap="flat">
              <a:noFill/>
              <a:prstDash val="solid"/>
              <a:miter/>
            </a:ln>
          </p:spPr>
          <p:txBody>
            <a:bodyPr rtlCol="0" anchor="ctr"/>
            <a:lstStyle/>
            <a:p>
              <a:endParaRPr lang="en-GB" b="0" i="0">
                <a:latin typeface="BT Curve" panose="020B0503020203020204" pitchFamily="34" charset="0"/>
              </a:endParaRPr>
            </a:p>
          </p:txBody>
        </p:sp>
      </p:grpSp>
    </p:spTree>
    <p:extLst>
      <p:ext uri="{BB962C8B-B14F-4D97-AF65-F5344CB8AC3E}">
        <p14:creationId xmlns:p14="http://schemas.microsoft.com/office/powerpoint/2010/main" val="1863640645"/>
      </p:ext>
    </p:extLst>
  </p:cSld>
  <p:clrMapOvr>
    <a:masterClrMapping/>
  </p:clrMapOvr>
  <mc:AlternateContent xmlns:mc="http://schemas.openxmlformats.org/markup-compatibility/2006" xmlns:p14="http://schemas.microsoft.com/office/powerpoint/2010/main">
    <mc:Choice Requires="p14">
      <p:transition p14:dur="250">
        <p:push dir="u"/>
      </p:transition>
    </mc:Choice>
    <mc:Fallback xmlns="">
      <p:transition>
        <p:push dir="u"/>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rgundy - 2 Columns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C403E0-CA6E-5BBF-F1F4-487DF867BCF3}"/>
              </a:ext>
            </a:extLst>
          </p:cNvPr>
          <p:cNvSpPr>
            <a:spLocks noGrp="1"/>
          </p:cNvSpPr>
          <p:nvPr>
            <p:ph type="title" hasCustomPrompt="1"/>
          </p:nvPr>
        </p:nvSpPr>
        <p:spPr>
          <a:xfrm>
            <a:off x="334107" y="423741"/>
            <a:ext cx="11486417"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2" name="Content Placeholder 3">
            <a:extLst>
              <a:ext uri="{FF2B5EF4-FFF2-40B4-BE49-F238E27FC236}">
                <a16:creationId xmlns:a16="http://schemas.microsoft.com/office/drawing/2014/main" id="{40A101C8-5A89-9DB6-1C58-82C9AC9A8FB5}"/>
              </a:ext>
            </a:extLst>
          </p:cNvPr>
          <p:cNvSpPr>
            <a:spLocks noGrp="1"/>
          </p:cNvSpPr>
          <p:nvPr>
            <p:ph sz="half" idx="2"/>
          </p:nvPr>
        </p:nvSpPr>
        <p:spPr>
          <a:xfrm>
            <a:off x="334108" y="1828800"/>
            <a:ext cx="5595866" cy="4054906"/>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5">
            <a:extLst>
              <a:ext uri="{FF2B5EF4-FFF2-40B4-BE49-F238E27FC236}">
                <a16:creationId xmlns:a16="http://schemas.microsoft.com/office/drawing/2014/main" id="{2D658852-295B-DA71-8823-1087F42E126D}"/>
              </a:ext>
            </a:extLst>
          </p:cNvPr>
          <p:cNvSpPr>
            <a:spLocks noGrp="1"/>
          </p:cNvSpPr>
          <p:nvPr>
            <p:ph sz="quarter" idx="4"/>
          </p:nvPr>
        </p:nvSpPr>
        <p:spPr>
          <a:xfrm>
            <a:off x="6182682" y="1828800"/>
            <a:ext cx="5637843" cy="4054906"/>
          </a:xfrm>
          <a:prstGeom prst="rect">
            <a:avLst/>
          </a:prstGeom>
        </p:spPr>
        <p:txBody>
          <a:bodyPr lIns="0" tIns="0" rIns="0" bIns="0">
            <a:normAutofit/>
          </a:bodyPr>
          <a:lstStyle>
            <a:lvl1pPr marL="2286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1pPr>
            <a:lvl2pPr marL="6858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2pPr>
            <a:lvl3pPr marL="11430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3pPr>
            <a:lvl4pPr marL="16002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4pPr>
            <a:lvl5pPr marL="2057400" indent="-228600">
              <a:buFont typeface="Wingdings" pitchFamily="2" charset="2"/>
              <a:buChar char="§"/>
              <a:defRPr sz="2000" b="0" i="0">
                <a:solidFill>
                  <a:schemeClr val="bg1"/>
                </a:solidFill>
                <a:latin typeface="Inter" panose="02000503000000020004" pitchFamily="2" charset="0"/>
                <a:ea typeface="Inter" panose="02000503000000020004"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65720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rgundy - 1 Column - 2 Lin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Tree>
    <p:extLst>
      <p:ext uri="{BB962C8B-B14F-4D97-AF65-F5344CB8AC3E}">
        <p14:creationId xmlns:p14="http://schemas.microsoft.com/office/powerpoint/2010/main" val="1632571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rgundy - 1 Column - 1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CF3F409-87D4-583C-A379-5D687686BB9D}"/>
              </a:ext>
            </a:extLst>
          </p:cNvPr>
          <p:cNvSpPr txBox="1"/>
          <p:nvPr userDrawn="1"/>
        </p:nvSpPr>
        <p:spPr>
          <a:xfrm>
            <a:off x="10535478" y="6163670"/>
            <a:ext cx="1378227" cy="461665"/>
          </a:xfrm>
          <a:prstGeom prst="rect">
            <a:avLst/>
          </a:prstGeom>
          <a:noFill/>
        </p:spPr>
        <p:txBody>
          <a:bodyPr wrap="square" rtlCol="0">
            <a:spAutoFit/>
          </a:bodyPr>
          <a:lstStyle/>
          <a:p>
            <a:pPr algn="r"/>
            <a:fld id="{079FA304-78C3-704C-94FC-BC2870E2B5ED}" type="slidenum">
              <a:rPr lang="en-US" sz="2400" b="0" i="0" smtClean="0">
                <a:solidFill>
                  <a:schemeClr val="bg1"/>
                </a:solidFill>
                <a:latin typeface="Inter" panose="02000503000000020004" pitchFamily="2" charset="0"/>
                <a:ea typeface="Inter" panose="02000503000000020004" pitchFamily="2" charset="0"/>
                <a:cs typeface="Arial" panose="020B0604020202020204" pitchFamily="34" charset="0"/>
              </a:rPr>
              <a:pPr algn="r"/>
              <a:t>‹#›</a:t>
            </a:fld>
            <a:endParaRPr lang="en-US" sz="2400" b="0" i="0">
              <a:solidFill>
                <a:schemeClr val="bg1"/>
              </a:solidFill>
              <a:latin typeface="Inter" panose="02000503000000020004" pitchFamily="2" charset="0"/>
              <a:ea typeface="Inter" panose="02000503000000020004" pitchFamily="2" charset="0"/>
              <a:cs typeface="Arial" panose="020B0604020202020204" pitchFamily="34" charset="0"/>
            </a:endParaRPr>
          </a:p>
        </p:txBody>
      </p:sp>
      <p:sp>
        <p:nvSpPr>
          <p:cNvPr id="5" name="Title 8">
            <a:extLst>
              <a:ext uri="{FF2B5EF4-FFF2-40B4-BE49-F238E27FC236}">
                <a16:creationId xmlns:a16="http://schemas.microsoft.com/office/drawing/2014/main" id="{A457840D-871A-8C8D-C642-8AA7F7A8DEF0}"/>
              </a:ext>
            </a:extLst>
          </p:cNvPr>
          <p:cNvSpPr>
            <a:spLocks noGrp="1"/>
          </p:cNvSpPr>
          <p:nvPr>
            <p:ph type="title" hasCustomPrompt="1"/>
          </p:nvPr>
        </p:nvSpPr>
        <p:spPr>
          <a:xfrm>
            <a:off x="334107" y="423741"/>
            <a:ext cx="4197323" cy="1018979"/>
          </a:xfrm>
          <a:prstGeom prst="rect">
            <a:avLst/>
          </a:prstGeom>
        </p:spPr>
        <p:txBody>
          <a:bodyPr/>
          <a:lstStyle>
            <a:lvl1pPr>
              <a:defRPr sz="3600" b="0" i="0">
                <a:solidFill>
                  <a:schemeClr val="accent1"/>
                </a:solidFill>
                <a:latin typeface="Inter Light" panose="02000503000000020004" pitchFamily="2" charset="0"/>
                <a:ea typeface="Inter Light" panose="02000503000000020004" pitchFamily="2" charset="0"/>
                <a:cs typeface="Arial" panose="020B0604020202020204" pitchFamily="34" charset="0"/>
              </a:defRPr>
            </a:lvl1pPr>
          </a:lstStyle>
          <a:p>
            <a:r>
              <a:rPr lang="en-GB"/>
              <a:t>Click to insert</a:t>
            </a:r>
            <a:br>
              <a:rPr lang="en-GB"/>
            </a:br>
            <a:r>
              <a:rPr lang="en-GB"/>
              <a:t>slide title</a:t>
            </a:r>
            <a:endParaRPr lang="en-US"/>
          </a:p>
        </p:txBody>
      </p:sp>
      <p:sp>
        <p:nvSpPr>
          <p:cNvPr id="6" name="Text Placeholder 14">
            <a:extLst>
              <a:ext uri="{FF2B5EF4-FFF2-40B4-BE49-F238E27FC236}">
                <a16:creationId xmlns:a16="http://schemas.microsoft.com/office/drawing/2014/main" id="{CD126872-8E5D-04E9-DA59-B9145FD90A08}"/>
              </a:ext>
            </a:extLst>
          </p:cNvPr>
          <p:cNvSpPr>
            <a:spLocks noGrp="1"/>
          </p:cNvSpPr>
          <p:nvPr>
            <p:ph type="body" sz="quarter" idx="10"/>
          </p:nvPr>
        </p:nvSpPr>
        <p:spPr>
          <a:xfrm>
            <a:off x="334107" y="1828800"/>
            <a:ext cx="4197323" cy="4054906"/>
          </a:xfrm>
          <a:prstGeom prst="rect">
            <a:avLst/>
          </a:prstGeom>
        </p:spPr>
        <p:txBody>
          <a:bodyPr lIns="0" tIns="0" rIns="0" bIns="0"/>
          <a:lstStyle>
            <a:lvl1pPr marL="0" indent="0">
              <a:buNone/>
              <a:defRPr sz="2000">
                <a:solidFill>
                  <a:schemeClr val="bg1"/>
                </a:solidFill>
                <a:latin typeface="Inter" panose="02000503000000020004" pitchFamily="2" charset="0"/>
                <a:ea typeface="Inter" panose="02000503000000020004" pitchFamily="2" charset="0"/>
                <a:cs typeface="Arial" panose="020B0604020202020204" pitchFamily="34" charset="0"/>
              </a:defRPr>
            </a:lvl1pPr>
            <a:lvl2pPr>
              <a:defRPr>
                <a:latin typeface="Inter" panose="02000503000000020004" pitchFamily="2" charset="0"/>
                <a:ea typeface="Inter" panose="02000503000000020004" pitchFamily="2" charset="0"/>
              </a:defRPr>
            </a:lvl2pPr>
            <a:lvl3pPr>
              <a:defRPr>
                <a:latin typeface="Inter" panose="02000503000000020004" pitchFamily="2" charset="0"/>
                <a:ea typeface="Inter" panose="02000503000000020004" pitchFamily="2" charset="0"/>
              </a:defRPr>
            </a:lvl3pPr>
            <a:lvl4pPr>
              <a:defRPr>
                <a:latin typeface="Inter" panose="02000503000000020004" pitchFamily="2" charset="0"/>
                <a:ea typeface="Inter" panose="02000503000000020004" pitchFamily="2" charset="0"/>
              </a:defRPr>
            </a:lvl4pPr>
            <a:lvl5pPr>
              <a:defRPr>
                <a:latin typeface="Inter" panose="02000503000000020004" pitchFamily="2" charset="0"/>
                <a:ea typeface="Inter" panose="02000503000000020004" pitchFamily="2" charset="0"/>
              </a:defRPr>
            </a:lvl5pPr>
          </a:lstStyle>
          <a:p>
            <a:pPr lvl="0"/>
            <a:r>
              <a:rPr lang="en-GB"/>
              <a:t>Click to edit</a:t>
            </a:r>
          </a:p>
        </p:txBody>
      </p:sp>
      <p:sp>
        <p:nvSpPr>
          <p:cNvPr id="3" name="Picture Placeholder 2">
            <a:extLst>
              <a:ext uri="{FF2B5EF4-FFF2-40B4-BE49-F238E27FC236}">
                <a16:creationId xmlns:a16="http://schemas.microsoft.com/office/drawing/2014/main" id="{62CFBBA2-AA56-A22E-1A21-FD887B313861}"/>
              </a:ext>
            </a:extLst>
          </p:cNvPr>
          <p:cNvSpPr>
            <a:spLocks noGrp="1"/>
          </p:cNvSpPr>
          <p:nvPr>
            <p:ph type="pic" sz="quarter" idx="11" hasCustomPrompt="1"/>
          </p:nvPr>
        </p:nvSpPr>
        <p:spPr>
          <a:xfrm>
            <a:off x="5019041" y="423741"/>
            <a:ext cx="6838852" cy="5459965"/>
          </a:xfrm>
          <a:prstGeom prst="rect">
            <a:avLst/>
          </a:prstGeom>
        </p:spPr>
        <p:txBody>
          <a:bodyPr/>
          <a:lstStyle>
            <a:lvl1pPr marL="0" indent="0" algn="ctr">
              <a:buNone/>
              <a:defRPr sz="2000" b="0" i="0">
                <a:solidFill>
                  <a:srgbClr val="D0D1DB"/>
                </a:solidFill>
                <a:latin typeface="Inter" panose="02000503000000020004" pitchFamily="2" charset="0"/>
                <a:ea typeface="Inter" panose="02000503000000020004" pitchFamily="2" charset="0"/>
              </a:defRPr>
            </a:lvl1pPr>
          </a:lstStyle>
          <a:p>
            <a:r>
              <a:rPr lang="en-US"/>
              <a:t>Insert image here</a:t>
            </a:r>
          </a:p>
        </p:txBody>
      </p:sp>
    </p:spTree>
    <p:extLst>
      <p:ext uri="{BB962C8B-B14F-4D97-AF65-F5344CB8AC3E}">
        <p14:creationId xmlns:p14="http://schemas.microsoft.com/office/powerpoint/2010/main" val="140319993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2.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theme" Target="../theme/theme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60.xml"/><Relationship Id="rId7" Type="http://schemas.openxmlformats.org/officeDocument/2006/relationships/oleObject" Target="../embeddings/oleObject1.bin"/><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tags" Target="../tags/tag1.xml"/><Relationship Id="rId5" Type="http://schemas.openxmlformats.org/officeDocument/2006/relationships/theme" Target="../theme/theme4.xml"/><Relationship Id="rId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434371"/>
      </p:ext>
    </p:extLst>
  </p:cSld>
  <p:clrMap bg1="lt1" tx1="dk1" bg2="lt2" tx2="dk2" accent1="accent1" accent2="accent2" accent3="accent3" accent4="accent4" accent5="accent5" accent6="accent6" hlink="hlink" folHlink="folHlink"/>
  <p:sldLayoutIdLst>
    <p:sldLayoutId id="2147483827" r:id="rId1"/>
    <p:sldLayoutId id="2147483705" r:id="rId2"/>
    <p:sldLayoutId id="2147483706" r:id="rId3"/>
    <p:sldLayoutId id="2147483829" r:id="rId4"/>
    <p:sldLayoutId id="2147483649" r:id="rId5"/>
    <p:sldLayoutId id="2147483830" r:id="rId6"/>
    <p:sldLayoutId id="2147483831" r:id="rId7"/>
    <p:sldLayoutId id="2147483832" r:id="rId8"/>
    <p:sldLayoutId id="2147483833" r:id="rId9"/>
    <p:sldLayoutId id="214748370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4" r:id="rId43"/>
    <p:sldLayoutId id="2147483700" r:id="rId44"/>
    <p:sldLayoutId id="2147483701" r:id="rId45"/>
    <p:sldLayoutId id="2147483828" r:id="rId4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179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13379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2"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3353D-48E3-1BD9-7D4A-46F913655D8B}"/>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3" name="Object 2" hidden="1">
                        <a:extLst>
                          <a:ext uri="{FF2B5EF4-FFF2-40B4-BE49-F238E27FC236}">
                            <a16:creationId xmlns:a16="http://schemas.microsoft.com/office/drawing/2014/main" id="{7CD3353D-48E3-1BD9-7D4A-46F913655D8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Placeholder 3">
            <a:extLst>
              <a:ext uri="{FF2B5EF4-FFF2-40B4-BE49-F238E27FC236}">
                <a16:creationId xmlns:a16="http://schemas.microsoft.com/office/drawing/2014/main" id="{208AA4D5-C6C5-15A0-5119-7736F3349323}"/>
              </a:ext>
            </a:extLst>
          </p:cNvPr>
          <p:cNvSpPr>
            <a:spLocks noGrp="1"/>
          </p:cNvSpPr>
          <p:nvPr>
            <p:ph type="title"/>
          </p:nvPr>
        </p:nvSpPr>
        <p:spPr>
          <a:xfrm>
            <a:off x="292099" y="311150"/>
            <a:ext cx="11591925" cy="962978"/>
          </a:xfrm>
          <a:prstGeom prst="rect">
            <a:avLst/>
          </a:prstGeom>
        </p:spPr>
        <p:txBody>
          <a:bodyPr vert="horz" lIns="0" tIns="0" rIns="0" bIns="0" rtlCol="0" anchor="t">
            <a:noAutofit/>
          </a:bodyPr>
          <a:lstStyle/>
          <a:p>
            <a:r>
              <a:rPr lang="en-US"/>
              <a:t>Click to edit Master title style</a:t>
            </a:r>
            <a:endParaRPr lang="en-GB"/>
          </a:p>
        </p:txBody>
      </p:sp>
      <p:sp>
        <p:nvSpPr>
          <p:cNvPr id="5" name="Text Placeholder 4">
            <a:extLst>
              <a:ext uri="{FF2B5EF4-FFF2-40B4-BE49-F238E27FC236}">
                <a16:creationId xmlns:a16="http://schemas.microsoft.com/office/drawing/2014/main" id="{DE43B3D2-490E-4E42-EBB8-C672F29F1979}"/>
              </a:ext>
            </a:extLst>
          </p:cNvPr>
          <p:cNvSpPr>
            <a:spLocks noGrp="1"/>
          </p:cNvSpPr>
          <p:nvPr>
            <p:ph type="body" idx="1"/>
          </p:nvPr>
        </p:nvSpPr>
        <p:spPr>
          <a:xfrm>
            <a:off x="292100" y="2265363"/>
            <a:ext cx="11591924" cy="4079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5AD621AC-570D-7CD6-AFE9-FEB9A35ED2D8}"/>
              </a:ext>
            </a:extLst>
          </p:cNvPr>
          <p:cNvSpPr>
            <a:spLocks noGrp="1"/>
          </p:cNvSpPr>
          <p:nvPr>
            <p:ph type="ftr" sz="quarter" idx="3"/>
          </p:nvPr>
        </p:nvSpPr>
        <p:spPr>
          <a:xfrm>
            <a:off x="8975724" y="308925"/>
            <a:ext cx="2692399" cy="203835"/>
          </a:xfrm>
          <a:prstGeom prst="rect">
            <a:avLst/>
          </a:prstGeom>
        </p:spPr>
        <p:txBody>
          <a:bodyPr vert="horz" lIns="0" tIns="0" rIns="0" bIns="0" rtlCol="0" anchor="t">
            <a:noAutofit/>
          </a:bodyPr>
          <a:lstStyle>
            <a:lvl1pPr algn="r">
              <a:defRPr sz="1000" b="0" i="0">
                <a:solidFill>
                  <a:schemeClr val="tx1"/>
                </a:solidFill>
                <a:latin typeface="BT Curve" panose="020B0503020203020204" pitchFamily="34" charset="0"/>
              </a:defRPr>
            </a:lvl1pPr>
          </a:lstStyle>
          <a:p>
            <a:r>
              <a:rPr lang="en-GB"/>
              <a:t>BT Group PowerPoint    |</a:t>
            </a:r>
          </a:p>
        </p:txBody>
      </p:sp>
      <p:sp>
        <p:nvSpPr>
          <p:cNvPr id="7" name="Slide Number Placeholder 6">
            <a:extLst>
              <a:ext uri="{FF2B5EF4-FFF2-40B4-BE49-F238E27FC236}">
                <a16:creationId xmlns:a16="http://schemas.microsoft.com/office/drawing/2014/main" id="{B03BBEC2-6595-EB8F-7304-D44D9B4C62B0}"/>
              </a:ext>
            </a:extLst>
          </p:cNvPr>
          <p:cNvSpPr>
            <a:spLocks noGrp="1"/>
          </p:cNvSpPr>
          <p:nvPr>
            <p:ph type="sldNum" sz="quarter" idx="4"/>
          </p:nvPr>
        </p:nvSpPr>
        <p:spPr>
          <a:xfrm>
            <a:off x="11733529" y="308926"/>
            <a:ext cx="365126" cy="203835"/>
          </a:xfrm>
          <a:prstGeom prst="rect">
            <a:avLst/>
          </a:prstGeom>
        </p:spPr>
        <p:txBody>
          <a:bodyPr vert="horz" lIns="0" tIns="0" rIns="0" bIns="0" rtlCol="0" anchor="t">
            <a:noAutofit/>
          </a:bodyPr>
          <a:lstStyle>
            <a:lvl1pPr algn="l">
              <a:defRPr sz="1000" b="0" i="0">
                <a:solidFill>
                  <a:schemeClr val="tx1"/>
                </a:solidFill>
                <a:latin typeface="BT Curve" panose="020B0503020203020204" pitchFamily="34" charset="0"/>
              </a:defRPr>
            </a:lvl1pPr>
          </a:lstStyle>
          <a:p>
            <a:fld id="{7F05727F-EB13-4C36-9A9C-A65743ED0171}" type="slidenum">
              <a:rPr lang="en-GB" smtClean="0"/>
              <a:pPr/>
              <a:t>‹#›</a:t>
            </a:fld>
            <a:endParaRPr lang="en-GB"/>
          </a:p>
        </p:txBody>
      </p:sp>
    </p:spTree>
    <p:extLst>
      <p:ext uri="{BB962C8B-B14F-4D97-AF65-F5344CB8AC3E}">
        <p14:creationId xmlns:p14="http://schemas.microsoft.com/office/powerpoint/2010/main" val="4289227864"/>
      </p:ext>
    </p:extLst>
  </p:cSld>
  <p:clrMap bg1="lt1" tx1="dk1" bg2="lt2" tx2="dk2" accent1="accent1" accent2="accent2" accent3="accent3" accent4="accent4" accent5="accent5" accent6="accent6" hlink="hlink" folHlink="folHlink"/>
  <p:sldLayoutIdLst>
    <p:sldLayoutId id="2147483729" r:id="rId1"/>
    <p:sldLayoutId id="2147483790" r:id="rId2"/>
    <p:sldLayoutId id="2147483799" r:id="rId3"/>
    <p:sldLayoutId id="2147483733" r:id="rId4"/>
  </p:sldLayoutIdLst>
  <mc:AlternateContent xmlns:mc="http://schemas.openxmlformats.org/markup-compatibility/2006" xmlns:p14="http://schemas.microsoft.com/office/powerpoint/2010/main">
    <mc:Choice Requires="p14">
      <p:transition p14:dur="250">
        <p:push dir="u"/>
      </p:transition>
    </mc:Choice>
    <mc:Fallback xmlns="">
      <p:transition>
        <p:push dir="u"/>
      </p:transition>
    </mc:Fallback>
  </mc:AlternateContent>
  <p:hf hdr="0" dt="0"/>
  <p:txStyles>
    <p:titleStyle>
      <a:lvl1pPr algn="l" defTabSz="5545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0" indent="0" algn="l" defTabSz="554500" rtl="0" eaLnBrk="1" latinLnBrk="0" hangingPunct="1">
        <a:lnSpc>
          <a:spcPct val="100000"/>
        </a:lnSpc>
        <a:spcBef>
          <a:spcPts val="0"/>
        </a:spcBef>
        <a:spcAft>
          <a:spcPts val="900"/>
        </a:spcAft>
        <a:buFont typeface="Arial" panose="020B0604020202020204" pitchFamily="34" charset="0"/>
        <a:buNone/>
        <a:defRPr sz="1600" b="0" i="0" kern="1200">
          <a:solidFill>
            <a:schemeClr val="tx1"/>
          </a:solidFill>
          <a:latin typeface="BT Curve" panose="020B0503020203020204" pitchFamily="34" charset="0"/>
          <a:ea typeface="+mn-ea"/>
          <a:cs typeface="+mn-cs"/>
        </a:defRPr>
      </a:lvl1pPr>
      <a:lvl2pPr marL="177800" indent="-177800" algn="l" defTabSz="554500" rtl="0" eaLnBrk="1" latinLnBrk="0" hangingPunct="1">
        <a:lnSpc>
          <a:spcPct val="100000"/>
        </a:lnSpc>
        <a:spcBef>
          <a:spcPts val="0"/>
        </a:spcBef>
        <a:spcAft>
          <a:spcPts val="900"/>
        </a:spcAft>
        <a:buFont typeface="Wingdings" panose="05000000000000000000" pitchFamily="2" charset="2"/>
        <a:buChar char="§"/>
        <a:defRPr sz="1600" b="0" i="0" kern="1200">
          <a:solidFill>
            <a:schemeClr val="tx1"/>
          </a:solidFill>
          <a:latin typeface="BT Curve" panose="020B0503020203020204" pitchFamily="34" charset="0"/>
          <a:ea typeface="+mn-ea"/>
          <a:cs typeface="+mn-cs"/>
        </a:defRPr>
      </a:lvl2pPr>
      <a:lvl3pPr marL="360363" indent="-182563" algn="l" defTabSz="554500" rtl="0" eaLnBrk="1" latinLnBrk="0" hangingPunct="1">
        <a:lnSpc>
          <a:spcPct val="100000"/>
        </a:lnSpc>
        <a:spcBef>
          <a:spcPts val="0"/>
        </a:spcBef>
        <a:spcAft>
          <a:spcPts val="900"/>
        </a:spcAft>
        <a:buFont typeface="Tahoma" panose="020B0604030504040204" pitchFamily="34" charset="0"/>
        <a:buChar char="–"/>
        <a:defRPr sz="1600" b="0" i="0" kern="1200">
          <a:solidFill>
            <a:schemeClr val="tx1"/>
          </a:solidFill>
          <a:latin typeface="BT Curve" panose="020B0503020203020204" pitchFamily="34" charset="0"/>
          <a:ea typeface="+mn-ea"/>
          <a:cs typeface="+mn-cs"/>
        </a:defRPr>
      </a:lvl3pPr>
      <a:lvl4pPr marL="0" indent="0" algn="l" defTabSz="554500" rtl="0" eaLnBrk="1" latinLnBrk="0" hangingPunct="1">
        <a:lnSpc>
          <a:spcPct val="100000"/>
        </a:lnSpc>
        <a:spcBef>
          <a:spcPts val="600"/>
        </a:spcBef>
        <a:spcAft>
          <a:spcPts val="1800"/>
        </a:spcAft>
        <a:buFont typeface="Arial" panose="020B0604020202020204" pitchFamily="34" charset="0"/>
        <a:buNone/>
        <a:tabLst/>
        <a:defRPr sz="1800" b="0" kern="1200">
          <a:solidFill>
            <a:schemeClr val="tx1"/>
          </a:solidFill>
          <a:latin typeface="+mj-lt"/>
          <a:ea typeface="+mn-ea"/>
          <a:cs typeface="+mn-cs"/>
        </a:defRPr>
      </a:lvl4pPr>
      <a:lvl5pPr marL="625475" indent="-265113" algn="l" defTabSz="554500" rtl="0" eaLnBrk="1" latinLnBrk="0" hangingPunct="1">
        <a:lnSpc>
          <a:spcPct val="100000"/>
        </a:lnSpc>
        <a:spcBef>
          <a:spcPts val="0"/>
        </a:spcBef>
        <a:spcAft>
          <a:spcPts val="900"/>
        </a:spcAft>
        <a:buFont typeface="Wingdings" panose="05000000000000000000" pitchFamily="2" charset="2"/>
        <a:buChar char="§"/>
        <a:defRPr sz="1600" b="0" i="0" kern="1200">
          <a:solidFill>
            <a:schemeClr val="tx1"/>
          </a:solidFill>
          <a:latin typeface="BT Curve" panose="020B0503020203020204" pitchFamily="34" charset="0"/>
          <a:ea typeface="+mn-ea"/>
          <a:cs typeface="+mn-cs"/>
        </a:defRPr>
      </a:lvl5pPr>
      <a:lvl6pPr marL="1524875"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26"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75"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626" indent="-138625" algn="l" defTabSz="554500"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500" rtl="0" eaLnBrk="1" latinLnBrk="0" hangingPunct="1">
        <a:defRPr sz="1092" kern="1200">
          <a:solidFill>
            <a:schemeClr val="tx1"/>
          </a:solidFill>
          <a:latin typeface="+mn-lt"/>
          <a:ea typeface="+mn-ea"/>
          <a:cs typeface="+mn-cs"/>
        </a:defRPr>
      </a:lvl1pPr>
      <a:lvl2pPr marL="277250" algn="l" defTabSz="554500" rtl="0" eaLnBrk="1" latinLnBrk="0" hangingPunct="1">
        <a:defRPr sz="1092" kern="1200">
          <a:solidFill>
            <a:schemeClr val="tx1"/>
          </a:solidFill>
          <a:latin typeface="+mn-lt"/>
          <a:ea typeface="+mn-ea"/>
          <a:cs typeface="+mn-cs"/>
        </a:defRPr>
      </a:lvl2pPr>
      <a:lvl3pPr marL="554500" algn="l" defTabSz="554500" rtl="0" eaLnBrk="1" latinLnBrk="0" hangingPunct="1">
        <a:defRPr sz="1092" kern="1200">
          <a:solidFill>
            <a:schemeClr val="tx1"/>
          </a:solidFill>
          <a:latin typeface="+mn-lt"/>
          <a:ea typeface="+mn-ea"/>
          <a:cs typeface="+mn-cs"/>
        </a:defRPr>
      </a:lvl3pPr>
      <a:lvl4pPr marL="831750" algn="l" defTabSz="554500" rtl="0" eaLnBrk="1" latinLnBrk="0" hangingPunct="1">
        <a:defRPr sz="1092" kern="1200">
          <a:solidFill>
            <a:schemeClr val="tx1"/>
          </a:solidFill>
          <a:latin typeface="+mn-lt"/>
          <a:ea typeface="+mn-ea"/>
          <a:cs typeface="+mn-cs"/>
        </a:defRPr>
      </a:lvl4pPr>
      <a:lvl5pPr marL="1109000" algn="l" defTabSz="554500" rtl="0" eaLnBrk="1" latinLnBrk="0" hangingPunct="1">
        <a:defRPr sz="1092" kern="1200">
          <a:solidFill>
            <a:schemeClr val="tx1"/>
          </a:solidFill>
          <a:latin typeface="+mn-lt"/>
          <a:ea typeface="+mn-ea"/>
          <a:cs typeface="+mn-cs"/>
        </a:defRPr>
      </a:lvl5pPr>
      <a:lvl6pPr marL="1386250" algn="l" defTabSz="554500" rtl="0" eaLnBrk="1" latinLnBrk="0" hangingPunct="1">
        <a:defRPr sz="1092" kern="1200">
          <a:solidFill>
            <a:schemeClr val="tx1"/>
          </a:solidFill>
          <a:latin typeface="+mn-lt"/>
          <a:ea typeface="+mn-ea"/>
          <a:cs typeface="+mn-cs"/>
        </a:defRPr>
      </a:lvl6pPr>
      <a:lvl7pPr marL="1663500" algn="l" defTabSz="554500" rtl="0" eaLnBrk="1" latinLnBrk="0" hangingPunct="1">
        <a:defRPr sz="1092" kern="1200">
          <a:solidFill>
            <a:schemeClr val="tx1"/>
          </a:solidFill>
          <a:latin typeface="+mn-lt"/>
          <a:ea typeface="+mn-ea"/>
          <a:cs typeface="+mn-cs"/>
        </a:defRPr>
      </a:lvl7pPr>
      <a:lvl8pPr marL="1940750" algn="l" defTabSz="554500" rtl="0" eaLnBrk="1" latinLnBrk="0" hangingPunct="1">
        <a:defRPr sz="1092" kern="1200">
          <a:solidFill>
            <a:schemeClr val="tx1"/>
          </a:solidFill>
          <a:latin typeface="+mn-lt"/>
          <a:ea typeface="+mn-ea"/>
          <a:cs typeface="+mn-cs"/>
        </a:defRPr>
      </a:lvl8pPr>
      <a:lvl9pPr marL="2218001" algn="l" defTabSz="554500"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6">
          <p15:clr>
            <a:srgbClr val="F26B43"/>
          </p15:clr>
        </p15:guide>
        <p15:guide id="3" orient="horz" pos="196">
          <p15:clr>
            <a:srgbClr val="F26B43"/>
          </p15:clr>
        </p15:guide>
        <p15:guide id="4" pos="194">
          <p15:clr>
            <a:srgbClr val="F26B43"/>
          </p15:clr>
        </p15:guide>
        <p15:guide id="5" orient="horz" pos="3997">
          <p15:clr>
            <a:srgbClr val="F26B43"/>
          </p15:clr>
        </p15:guide>
        <p15:guide id="6" pos="7486">
          <p15:clr>
            <a:srgbClr val="F26B43"/>
          </p15:clr>
        </p15:guide>
        <p15:guide id="7" orient="horz" pos="1427">
          <p15:clr>
            <a:srgbClr val="F26B43"/>
          </p15:clr>
        </p15:guide>
        <p15:guide id="8" pos="3840">
          <p15:clr>
            <a:srgbClr val="F26B43"/>
          </p15:clr>
        </p15:guide>
        <p15:guide id="9" pos="565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0.xml"/><Relationship Id="rId5" Type="http://schemas.openxmlformats.org/officeDocument/2006/relationships/image" Target="../media/image21.sv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1.xml"/><Relationship Id="rId1" Type="http://schemas.openxmlformats.org/officeDocument/2006/relationships/slideLayout" Target="../slideLayouts/slideLayout30.xml"/><Relationship Id="rId5" Type="http://schemas.openxmlformats.org/officeDocument/2006/relationships/image" Target="../media/image21.sv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2.xml"/><Relationship Id="rId1" Type="http://schemas.openxmlformats.org/officeDocument/2006/relationships/slideLayout" Target="../slideLayouts/slideLayout30.xml"/><Relationship Id="rId5" Type="http://schemas.openxmlformats.org/officeDocument/2006/relationships/image" Target="../media/image21.sv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hyperlink" Target="https://www.cummins.com/eu/darlington-uk" TargetMode="External"/><Relationship Id="rId7"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30.xml"/><Relationship Id="rId6" Type="http://schemas.openxmlformats.org/officeDocument/2006/relationships/hyperlink" Target="https://teesvalley-ca.gov.uk/work/wp-content/uploads/sites/6/2025/01/Automotive-Aerospace-digital.pdf" TargetMode="External"/><Relationship Id="rId5" Type="http://schemas.openxmlformats.org/officeDocument/2006/relationships/hyperlink" Target="https://teesvalley-ca.gov.uk/business/automotive-and-aerospace/" TargetMode="External"/><Relationship Id="rId4" Type="http://schemas.openxmlformats.org/officeDocument/2006/relationships/hyperlink" Target="https://teesvalley-ca.gov.uk/work/wp-content/uploads/sites/6/2025/01/Darlington-LMI-Tees-Valley-Poster.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46.xml"/><Relationship Id="rId4" Type="http://schemas.openxmlformats.org/officeDocument/2006/relationships/image" Target="../media/image18.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video" Target="https://www.youtube.com/embed/iAnK7dpeao0" TargetMode="Externa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30.xml"/><Relationship Id="rId4" Type="http://schemas.openxmlformats.org/officeDocument/2006/relationships/image" Target="../media/image21.sv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0.xml"/><Relationship Id="rId4" Type="http://schemas.openxmlformats.org/officeDocument/2006/relationships/image" Target="../media/image21.sv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0.xml"/><Relationship Id="rId4"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21.sv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0.xml"/><Relationship Id="rId4" Type="http://schemas.openxmlformats.org/officeDocument/2006/relationships/image" Target="../media/image21.sv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0.xml"/><Relationship Id="rId5" Type="http://schemas.openxmlformats.org/officeDocument/2006/relationships/image" Target="../media/image21.sv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0.xml"/><Relationship Id="rId4"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large sign with a red and white logo&#10;&#10;AI-generated content may be incorrect.">
            <a:extLst>
              <a:ext uri="{FF2B5EF4-FFF2-40B4-BE49-F238E27FC236}">
                <a16:creationId xmlns:a16="http://schemas.microsoft.com/office/drawing/2014/main" id="{38DF9BBC-3327-D56E-34B8-A8DEDD4B2B44}"/>
              </a:ext>
            </a:extLst>
          </p:cNvPr>
          <p:cNvPicPr>
            <a:picLocks noChangeAspect="1"/>
          </p:cNvPicPr>
          <p:nvPr/>
        </p:nvPicPr>
        <p:blipFill>
          <a:blip r:embed="rId3"/>
          <a:stretch>
            <a:fillRect/>
          </a:stretch>
        </p:blipFill>
        <p:spPr>
          <a:xfrm>
            <a:off x="4595910" y="0"/>
            <a:ext cx="7936415" cy="6858000"/>
          </a:xfrm>
          <a:prstGeom prst="rect">
            <a:avLst/>
          </a:prstGeom>
        </p:spPr>
      </p:pic>
      <p:pic>
        <p:nvPicPr>
          <p:cNvPr id="5" name="Picture 4">
            <a:extLst>
              <a:ext uri="{FF2B5EF4-FFF2-40B4-BE49-F238E27FC236}">
                <a16:creationId xmlns:a16="http://schemas.microsoft.com/office/drawing/2014/main" id="{240BB6E0-3E2D-07EC-E422-648628C03375}"/>
              </a:ext>
            </a:extLst>
          </p:cNvPr>
          <p:cNvPicPr>
            <a:picLocks noChangeAspect="1"/>
          </p:cNvPicPr>
          <p:nvPr/>
        </p:nvPicPr>
        <p:blipFill>
          <a:blip r:embed="rId4"/>
          <a:srcRect/>
          <a:stretch/>
        </p:blipFill>
        <p:spPr>
          <a:xfrm>
            <a:off x="0" y="0"/>
            <a:ext cx="12779033" cy="7188206"/>
          </a:xfrm>
          <a:prstGeom prst="rect">
            <a:avLst/>
          </a:prstGeom>
        </p:spPr>
      </p:pic>
      <p:sp>
        <p:nvSpPr>
          <p:cNvPr id="8" name="Title 7">
            <a:extLst>
              <a:ext uri="{FF2B5EF4-FFF2-40B4-BE49-F238E27FC236}">
                <a16:creationId xmlns:a16="http://schemas.microsoft.com/office/drawing/2014/main" id="{AF31F27D-A071-310D-4DD5-41C06EFDE673}"/>
              </a:ext>
            </a:extLst>
          </p:cNvPr>
          <p:cNvSpPr>
            <a:spLocks noGrp="1"/>
          </p:cNvSpPr>
          <p:nvPr>
            <p:ph type="title"/>
          </p:nvPr>
        </p:nvSpPr>
        <p:spPr>
          <a:xfrm>
            <a:off x="302167" y="2298188"/>
            <a:ext cx="4590090" cy="1961651"/>
          </a:xfrm>
        </p:spPr>
        <p:txBody>
          <a:bodyPr lIns="91440" tIns="45720" rIns="91440" bIns="45720" anchor="t"/>
          <a:lstStyle/>
          <a:p>
            <a:r>
              <a:rPr lang="en-US" dirty="0">
                <a:latin typeface="Inter Light"/>
                <a:cs typeface="Arial"/>
              </a:rPr>
              <a:t>Cummins – </a:t>
            </a:r>
            <a:br>
              <a:rPr lang="en-US" dirty="0">
                <a:latin typeface="Inter Light"/>
                <a:cs typeface="Arial"/>
              </a:rPr>
            </a:br>
            <a:r>
              <a:rPr lang="en-US" dirty="0">
                <a:latin typeface="Inter Light"/>
                <a:cs typeface="Arial"/>
              </a:rPr>
              <a:t>KS4 Cosine Rule</a:t>
            </a:r>
            <a:br>
              <a:rPr lang="en-US" dirty="0"/>
            </a:br>
            <a:br>
              <a:rPr lang="en-US" dirty="0"/>
            </a:br>
            <a:br>
              <a:rPr lang="en-US" dirty="0"/>
            </a:br>
            <a:endParaRPr lang="en-US" sz="2800" dirty="0"/>
          </a:p>
        </p:txBody>
      </p:sp>
      <p:pic>
        <p:nvPicPr>
          <p:cNvPr id="4" name="Picture 2" descr="St Aidan's C of E Academy">
            <a:extLst>
              <a:ext uri="{FF2B5EF4-FFF2-40B4-BE49-F238E27FC236}">
                <a16:creationId xmlns:a16="http://schemas.microsoft.com/office/drawing/2014/main" id="{1B0D179E-E782-2198-869F-72B090B504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1880" y="5928745"/>
            <a:ext cx="1562202" cy="358387"/>
          </a:xfrm>
          <a:prstGeom prst="rect">
            <a:avLst/>
          </a:prstGeom>
          <a:noFill/>
          <a:extLst>
            <a:ext uri="{909E8E84-426E-40DD-AFC4-6F175D3DCCD1}">
              <a14:hiddenFill xmlns:a14="http://schemas.microsoft.com/office/drawing/2010/main">
                <a:solidFill>
                  <a:srgbClr val="FFFFFF"/>
                </a:solidFill>
              </a14:hiddenFill>
            </a:ext>
          </a:extLst>
        </p:spPr>
      </p:pic>
      <p:pic>
        <p:nvPicPr>
          <p:cNvPr id="10" name="Google Shape;217;p1" descr="A black background with white text&#10;&#10;Description automatically generated">
            <a:extLst>
              <a:ext uri="{FF2B5EF4-FFF2-40B4-BE49-F238E27FC236}">
                <a16:creationId xmlns:a16="http://schemas.microsoft.com/office/drawing/2014/main" id="{D647A2ED-A5A7-8E10-7160-9AF57EC478CE}"/>
              </a:ext>
            </a:extLst>
          </p:cNvPr>
          <p:cNvPicPr preferRelativeResize="0"/>
          <p:nvPr/>
        </p:nvPicPr>
        <p:blipFill rotWithShape="1">
          <a:blip r:embed="rId6">
            <a:alphaModFix/>
          </a:blip>
          <a:srcRect/>
          <a:stretch/>
        </p:blipFill>
        <p:spPr>
          <a:xfrm>
            <a:off x="3997594" y="5555894"/>
            <a:ext cx="1437718" cy="1008838"/>
          </a:xfrm>
          <a:prstGeom prst="rect">
            <a:avLst/>
          </a:prstGeom>
          <a:noFill/>
          <a:ln>
            <a:noFill/>
          </a:ln>
        </p:spPr>
      </p:pic>
      <p:pic>
        <p:nvPicPr>
          <p:cNvPr id="11" name="Graphic 10">
            <a:extLst>
              <a:ext uri="{FF2B5EF4-FFF2-40B4-BE49-F238E27FC236}">
                <a16:creationId xmlns:a16="http://schemas.microsoft.com/office/drawing/2014/main" id="{C269D17C-F5EB-5F5C-164D-920ED5D369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879" y="5101322"/>
            <a:ext cx="1293611" cy="1185810"/>
          </a:xfrm>
          <a:prstGeom prst="rect">
            <a:avLst/>
          </a:prstGeom>
        </p:spPr>
      </p:pic>
    </p:spTree>
    <p:extLst>
      <p:ext uri="{BB962C8B-B14F-4D97-AF65-F5344CB8AC3E}">
        <p14:creationId xmlns:p14="http://schemas.microsoft.com/office/powerpoint/2010/main" val="4045559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a:t>Trigonometry – The Solution</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C7C278A3-7F2C-BC6A-1F7E-547DDC1FC270}"/>
                  </a:ext>
                </a:extLst>
              </p:cNvPr>
              <p:cNvSpPr txBox="1"/>
              <p:nvPr/>
            </p:nvSpPr>
            <p:spPr>
              <a:xfrm>
                <a:off x="6814159" y="1289425"/>
                <a:ext cx="4960307" cy="4720908"/>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If we substitute our a, b, c and A into our formula, we are given:</a:t>
                </a:r>
              </a:p>
              <a:p>
                <a:pPr/>
                <a14:m>
                  <m:oMathPara xmlns:m="http://schemas.openxmlformats.org/officeDocument/2006/math">
                    <m:oMathParaPr>
                      <m:jc m:val="centerGroup"/>
                    </m:oMathParaPr>
                    <m:oMath xmlns:m="http://schemas.openxmlformats.org/officeDocument/2006/math">
                      <m:sSup>
                        <m:sSupPr>
                          <m:ctrlPr>
                            <a:rPr lang="en-GB" sz="1600" i="1">
                              <a:latin typeface="Cambria Math" panose="02040503050406030204" pitchFamily="18" charset="0"/>
                            </a:rPr>
                          </m:ctrlPr>
                        </m:sSupPr>
                        <m:e>
                          <m:r>
                            <a:rPr lang="en-GB" sz="1600" i="1">
                              <a:latin typeface="Cambria Math" panose="02040503050406030204" pitchFamily="18" charset="0"/>
                            </a:rPr>
                            <m:t>1.65</m:t>
                          </m:r>
                        </m:e>
                        <m:sup>
                          <m:r>
                            <a:rPr lang="en-GB" sz="1600" i="1">
                              <a:latin typeface="Cambria Math" panose="02040503050406030204" pitchFamily="18" charset="0"/>
                            </a:rPr>
                            <m:t>2</m:t>
                          </m:r>
                        </m:sup>
                      </m:sSup>
                      <m:r>
                        <a:rPr lang="en-GB" sz="1600" i="1">
                          <a:latin typeface="Cambria Math" panose="02040503050406030204" pitchFamily="18" charset="0"/>
                        </a:rPr>
                        <m:t>=</m:t>
                      </m:r>
                      <m:sSup>
                        <m:sSupPr>
                          <m:ctrlPr>
                            <a:rPr lang="en-GB" sz="1600" i="1">
                              <a:latin typeface="Cambria Math" panose="02040503050406030204" pitchFamily="18" charset="0"/>
                            </a:rPr>
                          </m:ctrlPr>
                        </m:sSupPr>
                        <m:e>
                          <m:r>
                            <a:rPr lang="en-GB" sz="1600" i="1">
                              <a:latin typeface="Cambria Math" panose="02040503050406030204" pitchFamily="18" charset="0"/>
                            </a:rPr>
                            <m:t>1.8</m:t>
                          </m:r>
                        </m:e>
                        <m:sup>
                          <m:r>
                            <a:rPr lang="en-GB" sz="1600" i="1">
                              <a:latin typeface="Cambria Math" panose="02040503050406030204" pitchFamily="18" charset="0"/>
                            </a:rPr>
                            <m:t>2</m:t>
                          </m:r>
                        </m:sup>
                      </m:sSup>
                      <m:r>
                        <a:rPr lang="en-GB" sz="1600" i="1">
                          <a:latin typeface="Cambria Math" panose="02040503050406030204" pitchFamily="18" charset="0"/>
                        </a:rPr>
                        <m:t>+</m:t>
                      </m:r>
                      <m:sSup>
                        <m:sSupPr>
                          <m:ctrlPr>
                            <a:rPr lang="en-GB" sz="1600" i="1">
                              <a:latin typeface="Cambria Math" panose="02040503050406030204" pitchFamily="18" charset="0"/>
                            </a:rPr>
                          </m:ctrlPr>
                        </m:sSupPr>
                        <m:e>
                          <m:r>
                            <a:rPr lang="en-GB" sz="1600" i="1">
                              <a:latin typeface="Cambria Math" panose="02040503050406030204" pitchFamily="18" charset="0"/>
                            </a:rPr>
                            <m:t>1.5</m:t>
                          </m:r>
                        </m:e>
                        <m:sup>
                          <m:r>
                            <a:rPr lang="en-GB" sz="1600" i="1">
                              <a:latin typeface="Cambria Math" panose="02040503050406030204" pitchFamily="18" charset="0"/>
                            </a:rPr>
                            <m:t>2</m:t>
                          </m:r>
                        </m:sup>
                      </m:sSup>
                      <m:r>
                        <a:rPr lang="en-GB" sz="1600" i="1">
                          <a:latin typeface="Cambria Math" panose="02040503050406030204" pitchFamily="18" charset="0"/>
                        </a:rPr>
                        <m:t>−2</m:t>
                      </m:r>
                      <m:r>
                        <a:rPr lang="en-GB" sz="1600" i="1">
                          <a:latin typeface="Cambria Math" panose="02040503050406030204" pitchFamily="18" charset="0"/>
                          <a:ea typeface="Cambria Math" panose="02040503050406030204" pitchFamily="18" charset="0"/>
                        </a:rPr>
                        <m:t>×1.8×1.5×</m:t>
                      </m:r>
                      <m:r>
                        <a:rPr lang="en-GB" sz="1600" i="1">
                          <a:latin typeface="Cambria Math" panose="02040503050406030204" pitchFamily="18" charset="0"/>
                          <a:ea typeface="Cambria Math" panose="02040503050406030204" pitchFamily="18" charset="0"/>
                        </a:rPr>
                        <m:t>𝑐𝑜𝑠𝑥</m:t>
                      </m:r>
                    </m:oMath>
                  </m:oMathPara>
                </a14:m>
                <a:endParaRPr lang="en-GB" sz="1600">
                  <a:latin typeface="Inter" panose="02000503000000020004" pitchFamily="2" charset="0"/>
                  <a:ea typeface="Inter" panose="02000503000000020004" pitchFamily="2" charset="0"/>
                </a:endParaRPr>
              </a:p>
              <a:p>
                <a:endParaRPr lang="en-GB" sz="2000">
                  <a:latin typeface="Inter" panose="02000503000000020004" pitchFamily="2" charset="0"/>
                  <a:ea typeface="Inter" panose="02000503000000020004" pitchFamily="2" charset="0"/>
                </a:endParaRPr>
              </a:p>
              <a:p>
                <a:r>
                  <a:rPr lang="en-GB" sz="2000">
                    <a:latin typeface="Inter" panose="02000503000000020004" pitchFamily="2" charset="0"/>
                    <a:ea typeface="Inter" panose="02000503000000020004" pitchFamily="2" charset="0"/>
                  </a:rPr>
                  <a:t>Completing this calculation gives us:</a:t>
                </a:r>
              </a:p>
              <a:p>
                <a:pPr lvl="2"/>
                <a14:m>
                  <m:oMathPara xmlns:m="http://schemas.openxmlformats.org/officeDocument/2006/math">
                    <m:oMathParaPr>
                      <m:jc m:val="centerGroup"/>
                    </m:oMathParaPr>
                    <m:oMath xmlns:m="http://schemas.openxmlformats.org/officeDocument/2006/math">
                      <m:r>
                        <a:rPr lang="en-GB" sz="1600" i="1">
                          <a:latin typeface="Cambria Math" panose="02040503050406030204" pitchFamily="18" charset="0"/>
                        </a:rPr>
                        <m:t>2.7225=3.24+2.25−5.4</m:t>
                      </m:r>
                      <m:r>
                        <a:rPr lang="en-GB" sz="1600" i="1">
                          <a:latin typeface="Cambria Math" panose="02040503050406030204" pitchFamily="18" charset="0"/>
                        </a:rPr>
                        <m:t>𝑐𝑜𝑠𝑥</m:t>
                      </m:r>
                      <m:r>
                        <a:rPr lang="en-GB" sz="1600" i="1">
                          <a:latin typeface="Cambria Math" panose="02040503050406030204" pitchFamily="18" charset="0"/>
                        </a:rPr>
                        <m:t> </m:t>
                      </m:r>
                    </m:oMath>
                  </m:oMathPara>
                </a14:m>
                <a:endParaRPr lang="en-GB" sz="1600">
                  <a:latin typeface="Inter" panose="02000503000000020004" pitchFamily="2" charset="0"/>
                  <a:ea typeface="Inter" panose="02000503000000020004" pitchFamily="2" charset="0"/>
                </a:endParaRPr>
              </a:p>
              <a:p>
                <a:pPr lvl="2"/>
                <a:endParaRPr lang="en-GB" sz="1600">
                  <a:latin typeface="Inter" panose="02000503000000020004" pitchFamily="2" charset="0"/>
                  <a:ea typeface="Inter" panose="02000503000000020004" pitchFamily="2" charset="0"/>
                </a:endParaRPr>
              </a:p>
              <a:p>
                <a:pPr lvl="2"/>
                <a14:m>
                  <m:oMathPara xmlns:m="http://schemas.openxmlformats.org/officeDocument/2006/math">
                    <m:oMathParaPr>
                      <m:jc m:val="centerGroup"/>
                    </m:oMathParaPr>
                    <m:oMath xmlns:m="http://schemas.openxmlformats.org/officeDocument/2006/math">
                      <m:r>
                        <a:rPr lang="en-GB" sz="1600" i="1">
                          <a:latin typeface="Cambria Math" panose="02040503050406030204" pitchFamily="18" charset="0"/>
                        </a:rPr>
                        <m:t>2.7225−</m:t>
                      </m:r>
                      <m:d>
                        <m:dPr>
                          <m:ctrlPr>
                            <a:rPr lang="en-GB" sz="1600" i="1">
                              <a:latin typeface="Cambria Math" panose="02040503050406030204" pitchFamily="18" charset="0"/>
                            </a:rPr>
                          </m:ctrlPr>
                        </m:dPr>
                        <m:e>
                          <m:r>
                            <a:rPr lang="en-GB" sz="1600" i="1">
                              <a:latin typeface="Cambria Math" panose="02040503050406030204" pitchFamily="18" charset="0"/>
                            </a:rPr>
                            <m:t>5.49</m:t>
                          </m:r>
                        </m:e>
                      </m:d>
                      <m:r>
                        <a:rPr lang="en-GB" sz="1600" i="1">
                          <a:latin typeface="Cambria Math" panose="02040503050406030204" pitchFamily="18" charset="0"/>
                        </a:rPr>
                        <m:t>=−5.4</m:t>
                      </m:r>
                      <m:r>
                        <a:rPr lang="en-GB" sz="1600" i="1">
                          <a:latin typeface="Cambria Math" panose="02040503050406030204" pitchFamily="18" charset="0"/>
                        </a:rPr>
                        <m:t>𝑐𝑜𝑠𝑥</m:t>
                      </m:r>
                    </m:oMath>
                  </m:oMathPara>
                </a14:m>
                <a:endParaRPr lang="en-GB" sz="1600">
                  <a:latin typeface="Inter" panose="02000503000000020004" pitchFamily="2" charset="0"/>
                  <a:ea typeface="Inter" panose="02000503000000020004" pitchFamily="2" charset="0"/>
                </a:endParaRPr>
              </a:p>
              <a:p>
                <a:pPr lvl="2"/>
                <a:endParaRPr lang="en-GB" sz="1600">
                  <a:latin typeface="Inter" panose="02000503000000020004" pitchFamily="2" charset="0"/>
                  <a:ea typeface="Inter" panose="02000503000000020004" pitchFamily="2" charset="0"/>
                </a:endParaRPr>
              </a:p>
              <a:p>
                <a:pPr lvl="2"/>
                <a14:m>
                  <m:oMathPara xmlns:m="http://schemas.openxmlformats.org/officeDocument/2006/math">
                    <m:oMathParaPr>
                      <m:jc m:val="centerGroup"/>
                    </m:oMathParaPr>
                    <m:oMath xmlns:m="http://schemas.openxmlformats.org/officeDocument/2006/math">
                      <m:r>
                        <a:rPr lang="en-GB" sz="1600" i="1">
                          <a:latin typeface="Cambria Math" panose="02040503050406030204" pitchFamily="18" charset="0"/>
                        </a:rPr>
                        <m:t>−2.7675=−5.4</m:t>
                      </m:r>
                      <m:r>
                        <a:rPr lang="en-GB" sz="1600" i="1">
                          <a:latin typeface="Cambria Math" panose="02040503050406030204" pitchFamily="18" charset="0"/>
                        </a:rPr>
                        <m:t>𝑐𝑜𝑠𝑥</m:t>
                      </m:r>
                    </m:oMath>
                  </m:oMathPara>
                </a14:m>
                <a:endParaRPr lang="en-GB" sz="1600">
                  <a:latin typeface="Inter" panose="02000503000000020004" pitchFamily="2" charset="0"/>
                  <a:ea typeface="Inter" panose="02000503000000020004" pitchFamily="2" charset="0"/>
                </a:endParaRPr>
              </a:p>
              <a:p>
                <a:pPr lvl="2"/>
                <a:endParaRPr lang="en-GB" sz="1600">
                  <a:latin typeface="Inter" panose="02000503000000020004" pitchFamily="2" charset="0"/>
                  <a:ea typeface="Inter" panose="02000503000000020004" pitchFamily="2" charset="0"/>
                </a:endParaRPr>
              </a:p>
              <a:p>
                <a:pPr lvl="2"/>
                <a14:m>
                  <m:oMathPara xmlns:m="http://schemas.openxmlformats.org/officeDocument/2006/math">
                    <m:oMathParaPr>
                      <m:jc m:val="centerGroup"/>
                    </m:oMathParaPr>
                    <m:oMath xmlns:m="http://schemas.openxmlformats.org/officeDocument/2006/math">
                      <m:r>
                        <a:rPr lang="en-GB" sz="1600" i="1">
                          <a:latin typeface="Cambria Math" panose="02040503050406030204" pitchFamily="18" charset="0"/>
                        </a:rPr>
                        <m:t>𝑐𝑜𝑠𝑥</m:t>
                      </m:r>
                      <m:r>
                        <a:rPr lang="en-GB" sz="1600" i="1">
                          <a:latin typeface="Cambria Math" panose="02040503050406030204" pitchFamily="18" charset="0"/>
                        </a:rPr>
                        <m:t>=</m:t>
                      </m:r>
                      <m:f>
                        <m:fPr>
                          <m:ctrlPr>
                            <a:rPr lang="en-GB" sz="1600" i="1">
                              <a:latin typeface="Cambria Math" panose="02040503050406030204" pitchFamily="18" charset="0"/>
                            </a:rPr>
                          </m:ctrlPr>
                        </m:fPr>
                        <m:num>
                          <m:r>
                            <a:rPr lang="en-GB" sz="1600" i="1">
                              <a:latin typeface="Cambria Math" panose="02040503050406030204" pitchFamily="18" charset="0"/>
                            </a:rPr>
                            <m:t>−2.7675</m:t>
                          </m:r>
                        </m:num>
                        <m:den>
                          <m:r>
                            <a:rPr lang="en-GB" sz="1600" i="1">
                              <a:latin typeface="Cambria Math" panose="02040503050406030204" pitchFamily="18" charset="0"/>
                            </a:rPr>
                            <m:t>−5.4</m:t>
                          </m:r>
                        </m:den>
                      </m:f>
                    </m:oMath>
                  </m:oMathPara>
                </a14:m>
                <a:endParaRPr lang="en-GB" sz="1600">
                  <a:latin typeface="Inter" panose="02000503000000020004" pitchFamily="2" charset="0"/>
                  <a:ea typeface="Inter" panose="02000503000000020004" pitchFamily="2" charset="0"/>
                </a:endParaRPr>
              </a:p>
              <a:p>
                <a:pPr lvl="2"/>
                <a:endParaRPr lang="en-GB" sz="1600">
                  <a:latin typeface="Inter" panose="02000503000000020004" pitchFamily="2" charset="0"/>
                  <a:ea typeface="Inter" panose="02000503000000020004" pitchFamily="2" charset="0"/>
                </a:endParaRPr>
              </a:p>
              <a:p>
                <a:pPr lvl="2"/>
                <a14:m>
                  <m:oMathPara xmlns:m="http://schemas.openxmlformats.org/officeDocument/2006/math">
                    <m:oMathParaPr>
                      <m:jc m:val="centerGroup"/>
                    </m:oMathParaPr>
                    <m:oMath xmlns:m="http://schemas.openxmlformats.org/officeDocument/2006/math">
                      <m:func>
                        <m:funcPr>
                          <m:ctrlPr>
                            <a:rPr lang="en-GB" sz="1600" i="1">
                              <a:latin typeface="Cambria Math" panose="02040503050406030204" pitchFamily="18" charset="0"/>
                            </a:rPr>
                          </m:ctrlPr>
                        </m:funcPr>
                        <m:fName>
                          <m:r>
                            <a:rPr lang="en-GB" sz="1600" i="1">
                              <a:latin typeface="Cambria Math" panose="02040503050406030204" pitchFamily="18" charset="0"/>
                            </a:rPr>
                            <m:t>𝑥</m:t>
                          </m:r>
                          <m:r>
                            <a:rPr lang="en-GB" sz="1600" i="1">
                              <a:latin typeface="Cambria Math" panose="02040503050406030204" pitchFamily="18" charset="0"/>
                            </a:rPr>
                            <m:t>=</m:t>
                          </m:r>
                          <m:sSup>
                            <m:sSupPr>
                              <m:ctrlPr>
                                <a:rPr lang="en-GB" sz="1600" i="1">
                                  <a:latin typeface="Cambria Math" panose="02040503050406030204" pitchFamily="18" charset="0"/>
                                </a:rPr>
                              </m:ctrlPr>
                            </m:sSupPr>
                            <m:e>
                              <m:r>
                                <m:rPr>
                                  <m:sty m:val="p"/>
                                </m:rPr>
                                <a:rPr lang="en-GB" sz="1600">
                                  <a:latin typeface="Cambria Math" panose="02040503050406030204" pitchFamily="18" charset="0"/>
                                </a:rPr>
                                <m:t>cos</m:t>
                              </m:r>
                            </m:e>
                            <m:sup>
                              <m:r>
                                <a:rPr lang="en-GB" sz="1600" i="1">
                                  <a:latin typeface="Cambria Math" panose="02040503050406030204" pitchFamily="18" charset="0"/>
                                </a:rPr>
                                <m:t>−1</m:t>
                              </m:r>
                            </m:sup>
                          </m:sSup>
                        </m:fName>
                        <m:e>
                          <m:r>
                            <a:rPr lang="en-GB" sz="1600" i="1">
                              <a:latin typeface="Cambria Math" panose="02040503050406030204" pitchFamily="18" charset="0"/>
                            </a:rPr>
                            <m:t>(</m:t>
                          </m:r>
                          <m:f>
                            <m:fPr>
                              <m:ctrlPr>
                                <a:rPr lang="en-GB" sz="1600" i="1">
                                  <a:latin typeface="Cambria Math" panose="02040503050406030204" pitchFamily="18" charset="0"/>
                                </a:rPr>
                              </m:ctrlPr>
                            </m:fPr>
                            <m:num>
                              <m:r>
                                <a:rPr lang="en-GB" sz="1600" i="1">
                                  <a:latin typeface="Cambria Math" panose="02040503050406030204" pitchFamily="18" charset="0"/>
                                </a:rPr>
                                <m:t>−2.7675</m:t>
                              </m:r>
                            </m:num>
                            <m:den>
                              <m:r>
                                <a:rPr lang="en-GB" sz="1600" i="1">
                                  <a:latin typeface="Cambria Math" panose="02040503050406030204" pitchFamily="18" charset="0"/>
                                </a:rPr>
                                <m:t>−5.4</m:t>
                              </m:r>
                            </m:den>
                          </m:f>
                          <m:r>
                            <a:rPr lang="en-GB" sz="1600" i="1">
                              <a:latin typeface="Cambria Math" panose="02040503050406030204" pitchFamily="18" charset="0"/>
                            </a:rPr>
                            <m:t>)</m:t>
                          </m:r>
                        </m:e>
                      </m:func>
                    </m:oMath>
                  </m:oMathPara>
                </a14:m>
                <a:endParaRPr lang="en-GB" sz="1600">
                  <a:latin typeface="Inter" panose="02000503000000020004" pitchFamily="2" charset="0"/>
                  <a:ea typeface="Inter" panose="02000503000000020004" pitchFamily="2" charset="0"/>
                </a:endParaRPr>
              </a:p>
              <a:p>
                <a:pPr lvl="2"/>
                <a:endParaRPr lang="en-GB" sz="1600">
                  <a:latin typeface="Inter" panose="02000503000000020004" pitchFamily="2" charset="0"/>
                  <a:ea typeface="Inter" panose="02000503000000020004" pitchFamily="2" charset="0"/>
                </a:endParaRPr>
              </a:p>
              <a:p>
                <a:pPr lvl="2"/>
                <a14:m>
                  <m:oMathPara xmlns:m="http://schemas.openxmlformats.org/officeDocument/2006/math">
                    <m:oMathParaPr>
                      <m:jc m:val="centerGroup"/>
                    </m:oMathParaPr>
                    <m:oMath xmlns:m="http://schemas.openxmlformats.org/officeDocument/2006/math">
                      <m:r>
                        <a:rPr lang="en-GB" sz="1600" i="1">
                          <a:latin typeface="Cambria Math" panose="02040503050406030204" pitchFamily="18" charset="0"/>
                        </a:rPr>
                        <m:t>𝑥</m:t>
                      </m:r>
                      <m:r>
                        <a:rPr lang="en-GB" sz="1600" i="1">
                          <a:latin typeface="Cambria Math" panose="02040503050406030204" pitchFamily="18" charset="0"/>
                        </a:rPr>
                        <m:t>=59.1695025682°</m:t>
                      </m:r>
                    </m:oMath>
                  </m:oMathPara>
                </a14:m>
                <a:endParaRPr lang="en-GB" sz="1600">
                  <a:latin typeface="Inter" panose="02000503000000020004" pitchFamily="2" charset="0"/>
                  <a:ea typeface="Inter" panose="02000503000000020004" pitchFamily="2" charset="0"/>
                </a:endParaRPr>
              </a:p>
            </p:txBody>
          </p:sp>
        </mc:Choice>
        <mc:Fallback xmlns="">
          <p:sp>
            <p:nvSpPr>
              <p:cNvPr id="12" name="TextBox 11">
                <a:extLst>
                  <a:ext uri="{FF2B5EF4-FFF2-40B4-BE49-F238E27FC236}">
                    <a16:creationId xmlns:a16="http://schemas.microsoft.com/office/drawing/2014/main" id="{C7C278A3-7F2C-BC6A-1F7E-547DDC1FC270}"/>
                  </a:ext>
                </a:extLst>
              </p:cNvPr>
              <p:cNvSpPr txBox="1">
                <a:spLocks noRot="1" noChangeAspect="1" noMove="1" noResize="1" noEditPoints="1" noAdjustHandles="1" noChangeArrowheads="1" noChangeShapeType="1" noTextEdit="1"/>
              </p:cNvSpPr>
              <p:nvPr/>
            </p:nvSpPr>
            <p:spPr>
              <a:xfrm>
                <a:off x="6814159" y="1289425"/>
                <a:ext cx="4960307" cy="4720908"/>
              </a:xfrm>
              <a:prstGeom prst="rect">
                <a:avLst/>
              </a:prstGeom>
              <a:blipFill>
                <a:blip r:embed="rId3"/>
                <a:stretch>
                  <a:fillRect l="-1351" t="-775"/>
                </a:stretch>
              </a:blipFill>
            </p:spPr>
            <p:txBody>
              <a:bodyPr/>
              <a:lstStyle/>
              <a:p>
                <a:r>
                  <a:rPr lang="en-US">
                    <a:noFill/>
                  </a:rPr>
                  <a:t> </a:t>
                </a:r>
              </a:p>
            </p:txBody>
          </p:sp>
        </mc:Fallback>
      </mc:AlternateContent>
      <p:sp>
        <p:nvSpPr>
          <p:cNvPr id="23" name="TextBox 22">
            <a:extLst>
              <a:ext uri="{FF2B5EF4-FFF2-40B4-BE49-F238E27FC236}">
                <a16:creationId xmlns:a16="http://schemas.microsoft.com/office/drawing/2014/main" id="{B0A8ECBD-C627-BE53-D226-1950BA312CF7}"/>
              </a:ext>
            </a:extLst>
          </p:cNvPr>
          <p:cNvSpPr txBox="1"/>
          <p:nvPr/>
        </p:nvSpPr>
        <p:spPr>
          <a:xfrm>
            <a:off x="3652295" y="1353294"/>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a</a:t>
            </a:r>
          </a:p>
        </p:txBody>
      </p:sp>
      <p:sp>
        <p:nvSpPr>
          <p:cNvPr id="24" name="TextBox 23">
            <a:extLst>
              <a:ext uri="{FF2B5EF4-FFF2-40B4-BE49-F238E27FC236}">
                <a16:creationId xmlns:a16="http://schemas.microsoft.com/office/drawing/2014/main" id="{A277A10C-7EC6-9390-F197-04FEF3D4101A}"/>
              </a:ext>
            </a:extLst>
          </p:cNvPr>
          <p:cNvSpPr txBox="1"/>
          <p:nvPr/>
        </p:nvSpPr>
        <p:spPr>
          <a:xfrm>
            <a:off x="4155417" y="3666664"/>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b</a:t>
            </a:r>
          </a:p>
        </p:txBody>
      </p:sp>
      <p:sp>
        <p:nvSpPr>
          <p:cNvPr id="25" name="TextBox 24">
            <a:extLst>
              <a:ext uri="{FF2B5EF4-FFF2-40B4-BE49-F238E27FC236}">
                <a16:creationId xmlns:a16="http://schemas.microsoft.com/office/drawing/2014/main" id="{41246793-B06F-DE93-9F7D-6DDE86BFC324}"/>
              </a:ext>
            </a:extLst>
          </p:cNvPr>
          <p:cNvSpPr txBox="1"/>
          <p:nvPr/>
        </p:nvSpPr>
        <p:spPr>
          <a:xfrm>
            <a:off x="625710" y="3250562"/>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c</a:t>
            </a:r>
          </a:p>
        </p:txBody>
      </p:sp>
      <p:sp>
        <p:nvSpPr>
          <p:cNvPr id="26" name="TextBox 25">
            <a:extLst>
              <a:ext uri="{FF2B5EF4-FFF2-40B4-BE49-F238E27FC236}">
                <a16:creationId xmlns:a16="http://schemas.microsoft.com/office/drawing/2014/main" id="{BD909773-E5BA-9EB2-642D-9251B5EBE978}"/>
              </a:ext>
            </a:extLst>
          </p:cNvPr>
          <p:cNvSpPr txBox="1"/>
          <p:nvPr/>
        </p:nvSpPr>
        <p:spPr>
          <a:xfrm>
            <a:off x="3432581" y="3800692"/>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8m</a:t>
            </a:r>
          </a:p>
        </p:txBody>
      </p:sp>
      <p:sp>
        <p:nvSpPr>
          <p:cNvPr id="27" name="TextBox 26">
            <a:extLst>
              <a:ext uri="{FF2B5EF4-FFF2-40B4-BE49-F238E27FC236}">
                <a16:creationId xmlns:a16="http://schemas.microsoft.com/office/drawing/2014/main" id="{DA44C4E6-24F5-39B6-1582-2EC00DC953F6}"/>
              </a:ext>
            </a:extLst>
          </p:cNvPr>
          <p:cNvSpPr txBox="1"/>
          <p:nvPr/>
        </p:nvSpPr>
        <p:spPr>
          <a:xfrm>
            <a:off x="450933" y="3006305"/>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5m</a:t>
            </a:r>
          </a:p>
        </p:txBody>
      </p:sp>
      <p:sp>
        <p:nvSpPr>
          <p:cNvPr id="28" name="TextBox 27">
            <a:extLst>
              <a:ext uri="{FF2B5EF4-FFF2-40B4-BE49-F238E27FC236}">
                <a16:creationId xmlns:a16="http://schemas.microsoft.com/office/drawing/2014/main" id="{77FDBBE1-7125-8F86-CFDA-2F6E5CD8C8AD}"/>
              </a:ext>
            </a:extLst>
          </p:cNvPr>
          <p:cNvSpPr txBox="1"/>
          <p:nvPr/>
        </p:nvSpPr>
        <p:spPr>
          <a:xfrm>
            <a:off x="2789125" y="1512027"/>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65m</a:t>
            </a:r>
          </a:p>
        </p:txBody>
      </p:sp>
      <p:cxnSp>
        <p:nvCxnSpPr>
          <p:cNvPr id="29" name="Straight Connector 28">
            <a:extLst>
              <a:ext uri="{FF2B5EF4-FFF2-40B4-BE49-F238E27FC236}">
                <a16:creationId xmlns:a16="http://schemas.microsoft.com/office/drawing/2014/main" id="{D7EAA97E-63DC-86CA-7ECB-C97EEFE74FE1}"/>
              </a:ext>
            </a:extLst>
          </p:cNvPr>
          <p:cNvCxnSpPr>
            <a:cxnSpLocks/>
          </p:cNvCxnSpPr>
          <p:nvPr/>
        </p:nvCxnSpPr>
        <p:spPr>
          <a:xfrm flipH="1" flipV="1">
            <a:off x="1339692" y="1742517"/>
            <a:ext cx="475989" cy="3194137"/>
          </a:xfrm>
          <a:prstGeom prst="line">
            <a:avLst/>
          </a:prstGeom>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544A1DDC-B67A-75EA-FE94-8B4C50CEA4CC}"/>
              </a:ext>
            </a:extLst>
          </p:cNvPr>
          <p:cNvCxnSpPr>
            <a:cxnSpLocks/>
          </p:cNvCxnSpPr>
          <p:nvPr/>
        </p:nvCxnSpPr>
        <p:spPr>
          <a:xfrm flipV="1">
            <a:off x="1815681" y="2639879"/>
            <a:ext cx="3018772" cy="2296776"/>
          </a:xfrm>
          <a:prstGeom prst="line">
            <a:avLst/>
          </a:prstGeom>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A8515A9-8054-E50A-41E5-1E9FCDED4D0C}"/>
              </a:ext>
            </a:extLst>
          </p:cNvPr>
          <p:cNvCxnSpPr>
            <a:cxnSpLocks/>
          </p:cNvCxnSpPr>
          <p:nvPr/>
        </p:nvCxnSpPr>
        <p:spPr>
          <a:xfrm flipH="1" flipV="1">
            <a:off x="1329418" y="1742517"/>
            <a:ext cx="3494761" cy="926926"/>
          </a:xfrm>
          <a:prstGeom prst="line">
            <a:avLst/>
          </a:prstGeom>
        </p:spPr>
        <p:style>
          <a:lnRef idx="1">
            <a:schemeClr val="dk1"/>
          </a:lnRef>
          <a:fillRef idx="0">
            <a:schemeClr val="dk1"/>
          </a:fillRef>
          <a:effectRef idx="0">
            <a:schemeClr val="dk1"/>
          </a:effectRef>
          <a:fontRef idx="minor">
            <a:schemeClr val="tx1"/>
          </a:fontRef>
        </p:style>
      </p:cxnSp>
      <p:sp>
        <p:nvSpPr>
          <p:cNvPr id="32" name="Arc 31">
            <a:extLst>
              <a:ext uri="{FF2B5EF4-FFF2-40B4-BE49-F238E27FC236}">
                <a16:creationId xmlns:a16="http://schemas.microsoft.com/office/drawing/2014/main" id="{E93AC23D-5A62-3995-D145-0E42EBDD647B}"/>
              </a:ext>
            </a:extLst>
          </p:cNvPr>
          <p:cNvSpPr/>
          <p:nvPr/>
        </p:nvSpPr>
        <p:spPr>
          <a:xfrm>
            <a:off x="1277058" y="4384282"/>
            <a:ext cx="951978" cy="552372"/>
          </a:xfrm>
          <a:prstGeom prst="arc">
            <a:avLst>
              <a:gd name="adj1" fmla="val 15871907"/>
              <a:gd name="adj2" fmla="val 21323437"/>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33" name="TextBox 32">
            <a:extLst>
              <a:ext uri="{FF2B5EF4-FFF2-40B4-BE49-F238E27FC236}">
                <a16:creationId xmlns:a16="http://schemas.microsoft.com/office/drawing/2014/main" id="{AC73800B-61B8-D33A-8332-2EADC35F3C7D}"/>
              </a:ext>
            </a:extLst>
          </p:cNvPr>
          <p:cNvSpPr txBox="1"/>
          <p:nvPr/>
        </p:nvSpPr>
        <p:spPr>
          <a:xfrm>
            <a:off x="1890839" y="4030513"/>
            <a:ext cx="400831" cy="369332"/>
          </a:xfrm>
          <a:prstGeom prst="rect">
            <a:avLst/>
          </a:prstGeom>
          <a:noFill/>
        </p:spPr>
        <p:txBody>
          <a:bodyPr wrap="square" rtlCol="0">
            <a:spAutoFit/>
          </a:bodyPr>
          <a:lstStyle/>
          <a:p>
            <a:r>
              <a:rPr lang="en-GB" b="1">
                <a:latin typeface="Inter" panose="02000503000000020004" pitchFamily="2" charset="0"/>
                <a:ea typeface="Inter" panose="02000503000000020004" pitchFamily="2" charset="0"/>
              </a:rPr>
              <a:t>X</a:t>
            </a:r>
          </a:p>
        </p:txBody>
      </p:sp>
      <p:sp>
        <p:nvSpPr>
          <p:cNvPr id="34" name="Oval 33">
            <a:extLst>
              <a:ext uri="{FF2B5EF4-FFF2-40B4-BE49-F238E27FC236}">
                <a16:creationId xmlns:a16="http://schemas.microsoft.com/office/drawing/2014/main" id="{C33496E3-20CC-6833-3FA8-A75DED226812}"/>
              </a:ext>
            </a:extLst>
          </p:cNvPr>
          <p:cNvSpPr/>
          <p:nvPr/>
        </p:nvSpPr>
        <p:spPr>
          <a:xfrm>
            <a:off x="1114222" y="1523311"/>
            <a:ext cx="475989" cy="438411"/>
          </a:xfrm>
          <a:prstGeom prst="ellipse">
            <a:avLst/>
          </a:prstGeom>
          <a:solidFill>
            <a:srgbClr val="3E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A</a:t>
            </a:r>
          </a:p>
        </p:txBody>
      </p:sp>
      <p:sp>
        <p:nvSpPr>
          <p:cNvPr id="35" name="Oval 34">
            <a:extLst>
              <a:ext uri="{FF2B5EF4-FFF2-40B4-BE49-F238E27FC236}">
                <a16:creationId xmlns:a16="http://schemas.microsoft.com/office/drawing/2014/main" id="{6D1D8149-B280-BE5D-0E74-FEEA0ACB2832}"/>
              </a:ext>
            </a:extLst>
          </p:cNvPr>
          <p:cNvSpPr/>
          <p:nvPr/>
        </p:nvSpPr>
        <p:spPr>
          <a:xfrm>
            <a:off x="4661175" y="242067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B</a:t>
            </a:r>
          </a:p>
        </p:txBody>
      </p:sp>
      <p:sp>
        <p:nvSpPr>
          <p:cNvPr id="36" name="Oval 35">
            <a:extLst>
              <a:ext uri="{FF2B5EF4-FFF2-40B4-BE49-F238E27FC236}">
                <a16:creationId xmlns:a16="http://schemas.microsoft.com/office/drawing/2014/main" id="{28030991-5ABD-4895-405D-3FEAE242D980}"/>
              </a:ext>
            </a:extLst>
          </p:cNvPr>
          <p:cNvSpPr/>
          <p:nvPr/>
        </p:nvSpPr>
        <p:spPr>
          <a:xfrm>
            <a:off x="1590211" y="4740076"/>
            <a:ext cx="475989" cy="4384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C</a:t>
            </a:r>
          </a:p>
        </p:txBody>
      </p:sp>
      <p:sp>
        <p:nvSpPr>
          <p:cNvPr id="37" name="TextBox 36">
            <a:extLst>
              <a:ext uri="{FF2B5EF4-FFF2-40B4-BE49-F238E27FC236}">
                <a16:creationId xmlns:a16="http://schemas.microsoft.com/office/drawing/2014/main" id="{55A16D39-BFF3-4D4B-4E93-E1B36B43A5AA}"/>
              </a:ext>
            </a:extLst>
          </p:cNvPr>
          <p:cNvSpPr txBox="1"/>
          <p:nvPr/>
        </p:nvSpPr>
        <p:spPr>
          <a:xfrm>
            <a:off x="1991047" y="3394612"/>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A</a:t>
            </a:r>
          </a:p>
        </p:txBody>
      </p:sp>
      <p:pic>
        <p:nvPicPr>
          <p:cNvPr id="2" name="Graphic 1">
            <a:extLst>
              <a:ext uri="{FF2B5EF4-FFF2-40B4-BE49-F238E27FC236}">
                <a16:creationId xmlns:a16="http://schemas.microsoft.com/office/drawing/2014/main" id="{32F54FD5-083D-ED85-8277-0D2E08F8AA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779726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33" grpId="0"/>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a:t>Trigonometry – Solving Problems</a:t>
            </a:r>
          </a:p>
        </p:txBody>
      </p:sp>
      <p:sp>
        <p:nvSpPr>
          <p:cNvPr id="20" name="TextBox 19">
            <a:extLst>
              <a:ext uri="{FF2B5EF4-FFF2-40B4-BE49-F238E27FC236}">
                <a16:creationId xmlns:a16="http://schemas.microsoft.com/office/drawing/2014/main" id="{83524E61-555A-42E3-B417-79D1B0CCAECC}"/>
              </a:ext>
            </a:extLst>
          </p:cNvPr>
          <p:cNvSpPr txBox="1"/>
          <p:nvPr/>
        </p:nvSpPr>
        <p:spPr>
          <a:xfrm>
            <a:off x="5669622" y="1289425"/>
            <a:ext cx="554805" cy="374988"/>
          </a:xfrm>
          <a:prstGeom prst="rect">
            <a:avLst/>
          </a:prstGeom>
          <a:noFill/>
        </p:spPr>
        <p:txBody>
          <a:bodyPr wrap="square" rtlCol="0">
            <a:spAutoFit/>
          </a:bodyPr>
          <a:lstStyle/>
          <a:p>
            <a:r>
              <a:rPr lang="en-GB">
                <a:latin typeface="Inter" panose="02000503000000020004" pitchFamily="2" charset="0"/>
                <a:ea typeface="Inter" panose="02000503000000020004" pitchFamily="2" charset="0"/>
              </a:rPr>
              <a:t>2. </a:t>
            </a:r>
          </a:p>
        </p:txBody>
      </p: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66347B95-A3EC-4BD1-A72A-5EAF58743D03}"/>
                  </a:ext>
                </a:extLst>
              </p:cNvPr>
              <p:cNvSpPr txBox="1"/>
              <p:nvPr/>
            </p:nvSpPr>
            <p:spPr>
              <a:xfrm>
                <a:off x="3030875" y="5370581"/>
                <a:ext cx="5373385"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p>
                        <m:sSupPr>
                          <m:ctrlPr>
                            <a:rPr lang="en-GB" sz="2800" b="0" i="1" smtClean="0">
                              <a:latin typeface="Cambria Math" panose="02040503050406030204" pitchFamily="18" charset="0"/>
                            </a:rPr>
                          </m:ctrlPr>
                        </m:sSupPr>
                        <m:e>
                          <m:r>
                            <a:rPr lang="en-GB" sz="2800" b="0" i="1" smtClean="0">
                              <a:latin typeface="Cambria Math" panose="02040503050406030204" pitchFamily="18" charset="0"/>
                            </a:rPr>
                            <m:t>𝑎</m:t>
                          </m:r>
                        </m:e>
                        <m:sup>
                          <m:r>
                            <a:rPr lang="en-GB" sz="2800" b="0" i="1" smtClean="0">
                              <a:latin typeface="Cambria Math" panose="02040503050406030204" pitchFamily="18" charset="0"/>
                            </a:rPr>
                            <m:t>2</m:t>
                          </m:r>
                        </m:sup>
                      </m:sSup>
                      <m:r>
                        <a:rPr lang="en-GB" sz="2800" b="0" i="1" smtClean="0">
                          <a:latin typeface="Cambria Math" panose="02040503050406030204" pitchFamily="18" charset="0"/>
                        </a:rPr>
                        <m:t>=</m:t>
                      </m:r>
                      <m:sSup>
                        <m:sSupPr>
                          <m:ctrlPr>
                            <a:rPr lang="en-GB" sz="2800" b="0" i="1" smtClean="0">
                              <a:latin typeface="Cambria Math" panose="02040503050406030204" pitchFamily="18" charset="0"/>
                            </a:rPr>
                          </m:ctrlPr>
                        </m:sSupPr>
                        <m:e>
                          <m:r>
                            <a:rPr lang="en-GB" sz="2800" b="0" i="1" smtClean="0">
                              <a:latin typeface="Cambria Math" panose="02040503050406030204" pitchFamily="18" charset="0"/>
                            </a:rPr>
                            <m:t>𝑏</m:t>
                          </m:r>
                        </m:e>
                        <m:sup>
                          <m:r>
                            <a:rPr lang="en-GB" sz="2800" b="0" i="1" smtClean="0">
                              <a:latin typeface="Cambria Math" panose="02040503050406030204" pitchFamily="18" charset="0"/>
                            </a:rPr>
                            <m:t>2</m:t>
                          </m:r>
                        </m:sup>
                      </m:sSup>
                      <m:r>
                        <a:rPr lang="en-GB" sz="2800" b="0" i="1" smtClean="0">
                          <a:latin typeface="Cambria Math" panose="02040503050406030204" pitchFamily="18" charset="0"/>
                        </a:rPr>
                        <m:t>+</m:t>
                      </m:r>
                      <m:sSup>
                        <m:sSupPr>
                          <m:ctrlPr>
                            <a:rPr lang="en-GB" sz="2800" b="0" i="1" smtClean="0">
                              <a:latin typeface="Cambria Math" panose="02040503050406030204" pitchFamily="18" charset="0"/>
                            </a:rPr>
                          </m:ctrlPr>
                        </m:sSupPr>
                        <m:e>
                          <m:r>
                            <a:rPr lang="en-GB" sz="2800" b="0" i="1" smtClean="0">
                              <a:latin typeface="Cambria Math" panose="02040503050406030204" pitchFamily="18" charset="0"/>
                            </a:rPr>
                            <m:t>𝑐</m:t>
                          </m:r>
                        </m:e>
                        <m:sup>
                          <m:r>
                            <a:rPr lang="en-GB" sz="2800" b="0" i="1" smtClean="0">
                              <a:latin typeface="Cambria Math" panose="02040503050406030204" pitchFamily="18" charset="0"/>
                            </a:rPr>
                            <m:t>2</m:t>
                          </m:r>
                        </m:sup>
                      </m:sSup>
                      <m:r>
                        <a:rPr lang="en-GB" sz="2800" b="0" i="1" smtClean="0">
                          <a:latin typeface="Cambria Math" panose="02040503050406030204" pitchFamily="18" charset="0"/>
                        </a:rPr>
                        <m:t>−2</m:t>
                      </m:r>
                      <m:r>
                        <a:rPr lang="en-GB" sz="2800" b="0" i="1" smtClean="0">
                          <a:latin typeface="Cambria Math" panose="02040503050406030204" pitchFamily="18" charset="0"/>
                        </a:rPr>
                        <m:t>𝑏𝑐𝐶𝑜𝑠𝐴</m:t>
                      </m:r>
                    </m:oMath>
                  </m:oMathPara>
                </a14:m>
                <a:endParaRPr lang="en-GB">
                  <a:latin typeface="Inter" panose="02000503000000020004" pitchFamily="2" charset="0"/>
                  <a:ea typeface="Inter" panose="02000503000000020004" pitchFamily="2" charset="0"/>
                </a:endParaRPr>
              </a:p>
            </p:txBody>
          </p:sp>
        </mc:Choice>
        <mc:Fallback xmlns="">
          <p:sp>
            <p:nvSpPr>
              <p:cNvPr id="36" name="TextBox 35">
                <a:extLst>
                  <a:ext uri="{FF2B5EF4-FFF2-40B4-BE49-F238E27FC236}">
                    <a16:creationId xmlns:a16="http://schemas.microsoft.com/office/drawing/2014/main" id="{66347B95-A3EC-4BD1-A72A-5EAF58743D03}"/>
                  </a:ext>
                </a:extLst>
              </p:cNvPr>
              <p:cNvSpPr txBox="1">
                <a:spLocks noRot="1" noChangeAspect="1" noMove="1" noResize="1" noEditPoints="1" noAdjustHandles="1" noChangeArrowheads="1" noChangeShapeType="1" noTextEdit="1"/>
              </p:cNvSpPr>
              <p:nvPr/>
            </p:nvSpPr>
            <p:spPr>
              <a:xfrm>
                <a:off x="3030875" y="5370581"/>
                <a:ext cx="5373385" cy="523220"/>
              </a:xfrm>
              <a:prstGeom prst="rect">
                <a:avLst/>
              </a:prstGeom>
              <a:blipFill>
                <a:blip r:embed="rId3"/>
                <a:stretch>
                  <a:fillRect/>
                </a:stretch>
              </a:blipFill>
            </p:spPr>
            <p:txBody>
              <a:bodyPr/>
              <a:lstStyle/>
              <a:p>
                <a:r>
                  <a:rPr lang="en-US">
                    <a:noFill/>
                  </a:rPr>
                  <a:t> </a:t>
                </a:r>
              </a:p>
            </p:txBody>
          </p:sp>
        </mc:Fallback>
      </mc:AlternateContent>
      <p:cxnSp>
        <p:nvCxnSpPr>
          <p:cNvPr id="24" name="Straight Connector 23">
            <a:extLst>
              <a:ext uri="{FF2B5EF4-FFF2-40B4-BE49-F238E27FC236}">
                <a16:creationId xmlns:a16="http://schemas.microsoft.com/office/drawing/2014/main" id="{5720C430-C735-4DE4-ACD2-7215A32C9500}"/>
              </a:ext>
            </a:extLst>
          </p:cNvPr>
          <p:cNvCxnSpPr>
            <a:cxnSpLocks/>
          </p:cNvCxnSpPr>
          <p:nvPr/>
        </p:nvCxnSpPr>
        <p:spPr>
          <a:xfrm flipH="1" flipV="1">
            <a:off x="7498703" y="2751520"/>
            <a:ext cx="2865442" cy="2661465"/>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8EFC7C3D-4E7C-4D4E-830C-50207C557D68}"/>
              </a:ext>
            </a:extLst>
          </p:cNvPr>
          <p:cNvCxnSpPr>
            <a:cxnSpLocks/>
          </p:cNvCxnSpPr>
          <p:nvPr/>
        </p:nvCxnSpPr>
        <p:spPr>
          <a:xfrm flipV="1">
            <a:off x="10320247" y="1809656"/>
            <a:ext cx="495031" cy="3603330"/>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4A46299-5546-452F-9130-C97C9437FE4C}"/>
              </a:ext>
            </a:extLst>
          </p:cNvPr>
          <p:cNvCxnSpPr>
            <a:cxnSpLocks/>
          </p:cNvCxnSpPr>
          <p:nvPr/>
        </p:nvCxnSpPr>
        <p:spPr>
          <a:xfrm flipH="1">
            <a:off x="7470763" y="1809656"/>
            <a:ext cx="3344516" cy="914522"/>
          </a:xfrm>
          <a:prstGeom prst="line">
            <a:avLst/>
          </a:prstGeom>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656980C7-43D2-47A5-BBF0-7AA6048A4962}"/>
              </a:ext>
            </a:extLst>
          </p:cNvPr>
          <p:cNvSpPr txBox="1"/>
          <p:nvPr/>
        </p:nvSpPr>
        <p:spPr>
          <a:xfrm>
            <a:off x="8493400" y="1772752"/>
            <a:ext cx="893852"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3.5m</a:t>
            </a:r>
          </a:p>
        </p:txBody>
      </p:sp>
      <p:sp>
        <p:nvSpPr>
          <p:cNvPr id="38" name="TextBox 37">
            <a:extLst>
              <a:ext uri="{FF2B5EF4-FFF2-40B4-BE49-F238E27FC236}">
                <a16:creationId xmlns:a16="http://schemas.microsoft.com/office/drawing/2014/main" id="{B34782AA-BA28-4A97-98D0-35B7E57D2BB5}"/>
              </a:ext>
            </a:extLst>
          </p:cNvPr>
          <p:cNvSpPr txBox="1"/>
          <p:nvPr/>
        </p:nvSpPr>
        <p:spPr>
          <a:xfrm>
            <a:off x="8024947" y="3991703"/>
            <a:ext cx="893852"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4.5m</a:t>
            </a:r>
          </a:p>
        </p:txBody>
      </p:sp>
      <p:sp>
        <p:nvSpPr>
          <p:cNvPr id="39" name="TextBox 38">
            <a:extLst>
              <a:ext uri="{FF2B5EF4-FFF2-40B4-BE49-F238E27FC236}">
                <a16:creationId xmlns:a16="http://schemas.microsoft.com/office/drawing/2014/main" id="{A543727E-A2FC-4492-A08B-552B2530E443}"/>
              </a:ext>
            </a:extLst>
          </p:cNvPr>
          <p:cNvSpPr txBox="1"/>
          <p:nvPr/>
        </p:nvSpPr>
        <p:spPr>
          <a:xfrm>
            <a:off x="10644856" y="3442647"/>
            <a:ext cx="893852"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6m</a:t>
            </a:r>
          </a:p>
        </p:txBody>
      </p:sp>
      <p:grpSp>
        <p:nvGrpSpPr>
          <p:cNvPr id="63" name="Group 62">
            <a:extLst>
              <a:ext uri="{FF2B5EF4-FFF2-40B4-BE49-F238E27FC236}">
                <a16:creationId xmlns:a16="http://schemas.microsoft.com/office/drawing/2014/main" id="{C5EE6B3D-1836-780C-7B01-C9101941CD2C}"/>
              </a:ext>
            </a:extLst>
          </p:cNvPr>
          <p:cNvGrpSpPr/>
          <p:nvPr/>
        </p:nvGrpSpPr>
        <p:grpSpPr>
          <a:xfrm>
            <a:off x="813597" y="1512027"/>
            <a:ext cx="7598051" cy="3666460"/>
            <a:chOff x="813597" y="1512027"/>
            <a:chExt cx="7598051" cy="3666460"/>
          </a:xfrm>
        </p:grpSpPr>
        <p:sp>
          <p:nvSpPr>
            <p:cNvPr id="49" name="TextBox 48">
              <a:extLst>
                <a:ext uri="{FF2B5EF4-FFF2-40B4-BE49-F238E27FC236}">
                  <a16:creationId xmlns:a16="http://schemas.microsoft.com/office/drawing/2014/main" id="{E40F0426-1064-79FE-27D2-376CCE8C9198}"/>
                </a:ext>
              </a:extLst>
            </p:cNvPr>
            <p:cNvSpPr txBox="1"/>
            <p:nvPr/>
          </p:nvSpPr>
          <p:spPr>
            <a:xfrm>
              <a:off x="3432581" y="3800692"/>
              <a:ext cx="947798"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2.5m</a:t>
              </a:r>
            </a:p>
          </p:txBody>
        </p:sp>
        <p:sp>
          <p:nvSpPr>
            <p:cNvPr id="50" name="TextBox 49">
              <a:extLst>
                <a:ext uri="{FF2B5EF4-FFF2-40B4-BE49-F238E27FC236}">
                  <a16:creationId xmlns:a16="http://schemas.microsoft.com/office/drawing/2014/main" id="{ED102243-5F60-66B0-7CA6-E5C9575CA75D}"/>
                </a:ext>
              </a:extLst>
            </p:cNvPr>
            <p:cNvSpPr txBox="1"/>
            <p:nvPr/>
          </p:nvSpPr>
          <p:spPr>
            <a:xfrm>
              <a:off x="813597" y="3006305"/>
              <a:ext cx="620633"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5m</a:t>
              </a:r>
            </a:p>
          </p:txBody>
        </p:sp>
        <p:sp>
          <p:nvSpPr>
            <p:cNvPr id="51" name="TextBox 50">
              <a:extLst>
                <a:ext uri="{FF2B5EF4-FFF2-40B4-BE49-F238E27FC236}">
                  <a16:creationId xmlns:a16="http://schemas.microsoft.com/office/drawing/2014/main" id="{F9716475-6E1C-4E9A-151B-E641F3244609}"/>
                </a:ext>
              </a:extLst>
            </p:cNvPr>
            <p:cNvSpPr txBox="1"/>
            <p:nvPr/>
          </p:nvSpPr>
          <p:spPr>
            <a:xfrm>
              <a:off x="2789126" y="1512027"/>
              <a:ext cx="794600"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3m</a:t>
              </a:r>
            </a:p>
          </p:txBody>
        </p:sp>
        <p:cxnSp>
          <p:nvCxnSpPr>
            <p:cNvPr id="52" name="Straight Connector 51">
              <a:extLst>
                <a:ext uri="{FF2B5EF4-FFF2-40B4-BE49-F238E27FC236}">
                  <a16:creationId xmlns:a16="http://schemas.microsoft.com/office/drawing/2014/main" id="{9EAA112F-DB21-25B8-7C66-53AE81D8A5DD}"/>
                </a:ext>
              </a:extLst>
            </p:cNvPr>
            <p:cNvCxnSpPr>
              <a:cxnSpLocks/>
            </p:cNvCxnSpPr>
            <p:nvPr/>
          </p:nvCxnSpPr>
          <p:spPr>
            <a:xfrm flipH="1" flipV="1">
              <a:off x="1339692" y="1742517"/>
              <a:ext cx="475989" cy="3194137"/>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8C8129A9-4131-851C-4170-EBB63100F422}"/>
                </a:ext>
              </a:extLst>
            </p:cNvPr>
            <p:cNvCxnSpPr>
              <a:cxnSpLocks/>
            </p:cNvCxnSpPr>
            <p:nvPr/>
          </p:nvCxnSpPr>
          <p:spPr>
            <a:xfrm flipV="1">
              <a:off x="1815681" y="2639879"/>
              <a:ext cx="3018772" cy="2296776"/>
            </a:xfrm>
            <a:prstGeom prst="line">
              <a:avLst/>
            </a:prstGeom>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6779A98D-58B5-EDCF-077C-B05F93A7948E}"/>
                </a:ext>
              </a:extLst>
            </p:cNvPr>
            <p:cNvCxnSpPr>
              <a:cxnSpLocks/>
            </p:cNvCxnSpPr>
            <p:nvPr/>
          </p:nvCxnSpPr>
          <p:spPr>
            <a:xfrm flipH="1" flipV="1">
              <a:off x="1329418" y="1742517"/>
              <a:ext cx="3494761" cy="926926"/>
            </a:xfrm>
            <a:prstGeom prst="line">
              <a:avLst/>
            </a:prstGeom>
          </p:spPr>
          <p:style>
            <a:lnRef idx="1">
              <a:schemeClr val="dk1"/>
            </a:lnRef>
            <a:fillRef idx="0">
              <a:schemeClr val="dk1"/>
            </a:fillRef>
            <a:effectRef idx="0">
              <a:schemeClr val="dk1"/>
            </a:effectRef>
            <a:fontRef idx="minor">
              <a:schemeClr val="tx1"/>
            </a:fontRef>
          </p:style>
        </p:cxnSp>
        <p:sp>
          <p:nvSpPr>
            <p:cNvPr id="55" name="Arc 54">
              <a:extLst>
                <a:ext uri="{FF2B5EF4-FFF2-40B4-BE49-F238E27FC236}">
                  <a16:creationId xmlns:a16="http://schemas.microsoft.com/office/drawing/2014/main" id="{BA6435F7-8DBE-7860-C481-209ADD214BC5}"/>
                </a:ext>
              </a:extLst>
            </p:cNvPr>
            <p:cNvSpPr/>
            <p:nvPr/>
          </p:nvSpPr>
          <p:spPr>
            <a:xfrm rot="14938864">
              <a:off x="4015239" y="2666294"/>
              <a:ext cx="951978" cy="552372"/>
            </a:xfrm>
            <a:prstGeom prst="arc">
              <a:avLst>
                <a:gd name="adj1" fmla="val 15871907"/>
                <a:gd name="adj2" fmla="val 21323437"/>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56" name="TextBox 55">
              <a:extLst>
                <a:ext uri="{FF2B5EF4-FFF2-40B4-BE49-F238E27FC236}">
                  <a16:creationId xmlns:a16="http://schemas.microsoft.com/office/drawing/2014/main" id="{52382577-7FF6-00C2-4621-7CA7794DDDCC}"/>
                </a:ext>
              </a:extLst>
            </p:cNvPr>
            <p:cNvSpPr txBox="1"/>
            <p:nvPr/>
          </p:nvSpPr>
          <p:spPr>
            <a:xfrm>
              <a:off x="3808335" y="2584097"/>
              <a:ext cx="400831" cy="369332"/>
            </a:xfrm>
            <a:prstGeom prst="rect">
              <a:avLst/>
            </a:prstGeom>
            <a:noFill/>
          </p:spPr>
          <p:txBody>
            <a:bodyPr wrap="square" rtlCol="0">
              <a:spAutoFit/>
            </a:bodyPr>
            <a:lstStyle/>
            <a:p>
              <a:r>
                <a:rPr lang="en-GB" b="1">
                  <a:latin typeface="Inter" panose="02000503000000020004" pitchFamily="2" charset="0"/>
                  <a:ea typeface="Inter" panose="02000503000000020004" pitchFamily="2" charset="0"/>
                </a:rPr>
                <a:t>X</a:t>
              </a:r>
            </a:p>
          </p:txBody>
        </p:sp>
        <p:sp>
          <p:nvSpPr>
            <p:cNvPr id="57" name="Oval 56">
              <a:extLst>
                <a:ext uri="{FF2B5EF4-FFF2-40B4-BE49-F238E27FC236}">
                  <a16:creationId xmlns:a16="http://schemas.microsoft.com/office/drawing/2014/main" id="{90E788C4-13A5-B450-2944-580B193D2281}"/>
                </a:ext>
              </a:extLst>
            </p:cNvPr>
            <p:cNvSpPr/>
            <p:nvPr/>
          </p:nvSpPr>
          <p:spPr>
            <a:xfrm>
              <a:off x="1114222" y="1523311"/>
              <a:ext cx="475989" cy="438411"/>
            </a:xfrm>
            <a:prstGeom prst="ellipse">
              <a:avLst/>
            </a:prstGeom>
            <a:solidFill>
              <a:srgbClr val="3E1A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D</a:t>
              </a:r>
            </a:p>
          </p:txBody>
        </p:sp>
        <p:sp>
          <p:nvSpPr>
            <p:cNvPr id="58" name="Oval 57">
              <a:extLst>
                <a:ext uri="{FF2B5EF4-FFF2-40B4-BE49-F238E27FC236}">
                  <a16:creationId xmlns:a16="http://schemas.microsoft.com/office/drawing/2014/main" id="{DFDC7E02-1D76-E59A-5119-96591911492F}"/>
                </a:ext>
              </a:extLst>
            </p:cNvPr>
            <p:cNvSpPr/>
            <p:nvPr/>
          </p:nvSpPr>
          <p:spPr>
            <a:xfrm>
              <a:off x="4661175" y="242067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E</a:t>
              </a:r>
            </a:p>
          </p:txBody>
        </p:sp>
        <p:sp>
          <p:nvSpPr>
            <p:cNvPr id="59" name="Oval 58">
              <a:extLst>
                <a:ext uri="{FF2B5EF4-FFF2-40B4-BE49-F238E27FC236}">
                  <a16:creationId xmlns:a16="http://schemas.microsoft.com/office/drawing/2014/main" id="{4CBCFDA9-4CCB-96A5-8AFE-C9BDB08F13F7}"/>
                </a:ext>
              </a:extLst>
            </p:cNvPr>
            <p:cNvSpPr/>
            <p:nvPr/>
          </p:nvSpPr>
          <p:spPr>
            <a:xfrm>
              <a:off x="1590211" y="4740076"/>
              <a:ext cx="475989" cy="4384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F</a:t>
              </a:r>
            </a:p>
          </p:txBody>
        </p:sp>
        <p:sp>
          <p:nvSpPr>
            <p:cNvPr id="76" name="TextBox 75">
              <a:extLst>
                <a:ext uri="{FF2B5EF4-FFF2-40B4-BE49-F238E27FC236}">
                  <a16:creationId xmlns:a16="http://schemas.microsoft.com/office/drawing/2014/main" id="{0726EF4D-6A75-6D77-1540-43DA75C74F1D}"/>
                </a:ext>
              </a:extLst>
            </p:cNvPr>
            <p:cNvSpPr txBox="1"/>
            <p:nvPr/>
          </p:nvSpPr>
          <p:spPr>
            <a:xfrm>
              <a:off x="8010817" y="2709357"/>
              <a:ext cx="400831" cy="369332"/>
            </a:xfrm>
            <a:prstGeom prst="rect">
              <a:avLst/>
            </a:prstGeom>
            <a:noFill/>
          </p:spPr>
          <p:txBody>
            <a:bodyPr wrap="square" rtlCol="0">
              <a:spAutoFit/>
            </a:bodyPr>
            <a:lstStyle/>
            <a:p>
              <a:r>
                <a:rPr lang="en-GB" b="1">
                  <a:latin typeface="Inter" panose="02000503000000020004" pitchFamily="2" charset="0"/>
                  <a:ea typeface="Inter" panose="02000503000000020004" pitchFamily="2" charset="0"/>
                </a:rPr>
                <a:t>X</a:t>
              </a:r>
            </a:p>
          </p:txBody>
        </p:sp>
      </p:grpSp>
      <p:sp>
        <p:nvSpPr>
          <p:cNvPr id="62" name="TextBox 61">
            <a:extLst>
              <a:ext uri="{FF2B5EF4-FFF2-40B4-BE49-F238E27FC236}">
                <a16:creationId xmlns:a16="http://schemas.microsoft.com/office/drawing/2014/main" id="{6999F48D-F541-7ECA-3E5F-BBAF4246A1C1}"/>
              </a:ext>
            </a:extLst>
          </p:cNvPr>
          <p:cNvSpPr txBox="1"/>
          <p:nvPr/>
        </p:nvSpPr>
        <p:spPr>
          <a:xfrm>
            <a:off x="389902" y="1289425"/>
            <a:ext cx="554805" cy="374988"/>
          </a:xfrm>
          <a:prstGeom prst="rect">
            <a:avLst/>
          </a:prstGeom>
          <a:noFill/>
        </p:spPr>
        <p:txBody>
          <a:bodyPr wrap="square" rtlCol="0">
            <a:spAutoFit/>
          </a:bodyPr>
          <a:lstStyle/>
          <a:p>
            <a:r>
              <a:rPr lang="en-GB">
                <a:latin typeface="Inter" panose="02000503000000020004" pitchFamily="2" charset="0"/>
                <a:ea typeface="Inter" panose="02000503000000020004" pitchFamily="2" charset="0"/>
              </a:rPr>
              <a:t>1. </a:t>
            </a:r>
          </a:p>
        </p:txBody>
      </p:sp>
      <p:sp>
        <p:nvSpPr>
          <p:cNvPr id="21" name="Oval 20">
            <a:extLst>
              <a:ext uri="{FF2B5EF4-FFF2-40B4-BE49-F238E27FC236}">
                <a16:creationId xmlns:a16="http://schemas.microsoft.com/office/drawing/2014/main" id="{D481A87D-BAF2-4C3B-8D0C-B2442ADA0459}"/>
              </a:ext>
            </a:extLst>
          </p:cNvPr>
          <p:cNvSpPr/>
          <p:nvPr/>
        </p:nvSpPr>
        <p:spPr>
          <a:xfrm>
            <a:off x="7225953" y="2598390"/>
            <a:ext cx="475989" cy="438411"/>
          </a:xfrm>
          <a:prstGeom prst="ellipse">
            <a:avLst/>
          </a:prstGeom>
          <a:solidFill>
            <a:srgbClr val="3E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D</a:t>
            </a:r>
          </a:p>
        </p:txBody>
      </p:sp>
      <p:sp>
        <p:nvSpPr>
          <p:cNvPr id="22" name="Oval 21">
            <a:extLst>
              <a:ext uri="{FF2B5EF4-FFF2-40B4-BE49-F238E27FC236}">
                <a16:creationId xmlns:a16="http://schemas.microsoft.com/office/drawing/2014/main" id="{79BE08A3-7535-4AD6-89EE-6FD2DC150134}"/>
              </a:ext>
            </a:extLst>
          </p:cNvPr>
          <p:cNvSpPr/>
          <p:nvPr/>
        </p:nvSpPr>
        <p:spPr>
          <a:xfrm>
            <a:off x="10577284" y="1590451"/>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E</a:t>
            </a:r>
          </a:p>
        </p:txBody>
      </p:sp>
      <p:sp>
        <p:nvSpPr>
          <p:cNvPr id="23" name="Oval 22">
            <a:extLst>
              <a:ext uri="{FF2B5EF4-FFF2-40B4-BE49-F238E27FC236}">
                <a16:creationId xmlns:a16="http://schemas.microsoft.com/office/drawing/2014/main" id="{2C6F2B70-F992-4E05-AE9D-553CB9396D30}"/>
              </a:ext>
            </a:extLst>
          </p:cNvPr>
          <p:cNvSpPr/>
          <p:nvPr/>
        </p:nvSpPr>
        <p:spPr>
          <a:xfrm>
            <a:off x="10168867" y="5193780"/>
            <a:ext cx="475989" cy="4384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a:t>
            </a:r>
          </a:p>
        </p:txBody>
      </p:sp>
      <p:sp>
        <p:nvSpPr>
          <p:cNvPr id="77" name="Arc 76">
            <a:extLst>
              <a:ext uri="{FF2B5EF4-FFF2-40B4-BE49-F238E27FC236}">
                <a16:creationId xmlns:a16="http://schemas.microsoft.com/office/drawing/2014/main" id="{16E59C0C-0B43-8BAE-EC59-C8746389C7A1}"/>
              </a:ext>
            </a:extLst>
          </p:cNvPr>
          <p:cNvSpPr/>
          <p:nvPr/>
        </p:nvSpPr>
        <p:spPr>
          <a:xfrm rot="4782138">
            <a:off x="7279479" y="2368712"/>
            <a:ext cx="951978" cy="552372"/>
          </a:xfrm>
          <a:prstGeom prst="arc">
            <a:avLst>
              <a:gd name="adj1" fmla="val 15871907"/>
              <a:gd name="adj2" fmla="val 21323437"/>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pic>
        <p:nvPicPr>
          <p:cNvPr id="2" name="Graphic 1">
            <a:extLst>
              <a:ext uri="{FF2B5EF4-FFF2-40B4-BE49-F238E27FC236}">
                <a16:creationId xmlns:a16="http://schemas.microsoft.com/office/drawing/2014/main" id="{CDB7A492-DC72-A069-07D4-86E9102098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035555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a:t>Trigonometry – Generate your own question</a:t>
            </a:r>
          </a:p>
        </p:txBody>
      </p:sp>
      <p:sp>
        <p:nvSpPr>
          <p:cNvPr id="2" name="Oval 1">
            <a:extLst>
              <a:ext uri="{FF2B5EF4-FFF2-40B4-BE49-F238E27FC236}">
                <a16:creationId xmlns:a16="http://schemas.microsoft.com/office/drawing/2014/main" id="{D754B059-B2ED-4A58-A646-DC0E7394658C}"/>
              </a:ext>
            </a:extLst>
          </p:cNvPr>
          <p:cNvSpPr/>
          <p:nvPr/>
        </p:nvSpPr>
        <p:spPr>
          <a:xfrm>
            <a:off x="1568449" y="2117574"/>
            <a:ext cx="475989" cy="438411"/>
          </a:xfrm>
          <a:prstGeom prst="ellipse">
            <a:avLst/>
          </a:prstGeom>
          <a:solidFill>
            <a:srgbClr val="3E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D</a:t>
            </a:r>
          </a:p>
        </p:txBody>
      </p:sp>
      <p:sp>
        <p:nvSpPr>
          <p:cNvPr id="6" name="Oval 5">
            <a:extLst>
              <a:ext uri="{FF2B5EF4-FFF2-40B4-BE49-F238E27FC236}">
                <a16:creationId xmlns:a16="http://schemas.microsoft.com/office/drawing/2014/main" id="{AA655FF5-49B4-49AA-B33B-6C62BDA1ACB1}"/>
              </a:ext>
            </a:extLst>
          </p:cNvPr>
          <p:cNvSpPr/>
          <p:nvPr/>
        </p:nvSpPr>
        <p:spPr>
          <a:xfrm>
            <a:off x="3575351" y="230066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E</a:t>
            </a:r>
          </a:p>
        </p:txBody>
      </p:sp>
      <p:sp>
        <p:nvSpPr>
          <p:cNvPr id="7" name="Oval 6">
            <a:extLst>
              <a:ext uri="{FF2B5EF4-FFF2-40B4-BE49-F238E27FC236}">
                <a16:creationId xmlns:a16="http://schemas.microsoft.com/office/drawing/2014/main" id="{BBF068AF-600C-4DD9-88AE-E3F712CCEC68}"/>
              </a:ext>
            </a:extLst>
          </p:cNvPr>
          <p:cNvSpPr/>
          <p:nvPr/>
        </p:nvSpPr>
        <p:spPr>
          <a:xfrm>
            <a:off x="2554886" y="3998916"/>
            <a:ext cx="475989" cy="4384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F</a:t>
            </a:r>
          </a:p>
        </p:txBody>
      </p: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66347B95-A3EC-4BD1-A72A-5EAF58743D03}"/>
                  </a:ext>
                </a:extLst>
              </p:cNvPr>
              <p:cNvSpPr txBox="1"/>
              <p:nvPr/>
            </p:nvSpPr>
            <p:spPr>
              <a:xfrm>
                <a:off x="3030875" y="5370581"/>
                <a:ext cx="5373385"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p>
                        <m:sSupPr>
                          <m:ctrlPr>
                            <a:rPr lang="en-GB" sz="2800" b="0" i="1" smtClean="0">
                              <a:latin typeface="Cambria Math" panose="02040503050406030204" pitchFamily="18" charset="0"/>
                            </a:rPr>
                          </m:ctrlPr>
                        </m:sSupPr>
                        <m:e>
                          <m:r>
                            <a:rPr lang="en-GB" sz="2800" b="0" i="1" smtClean="0">
                              <a:latin typeface="Cambria Math" panose="02040503050406030204" pitchFamily="18" charset="0"/>
                            </a:rPr>
                            <m:t>𝑎</m:t>
                          </m:r>
                        </m:e>
                        <m:sup>
                          <m:r>
                            <a:rPr lang="en-GB" sz="2800" b="0" i="1" smtClean="0">
                              <a:latin typeface="Cambria Math" panose="02040503050406030204" pitchFamily="18" charset="0"/>
                            </a:rPr>
                            <m:t>2</m:t>
                          </m:r>
                        </m:sup>
                      </m:sSup>
                      <m:r>
                        <a:rPr lang="en-GB" sz="2800" b="0" i="1" smtClean="0">
                          <a:latin typeface="Cambria Math" panose="02040503050406030204" pitchFamily="18" charset="0"/>
                        </a:rPr>
                        <m:t>=</m:t>
                      </m:r>
                      <m:sSup>
                        <m:sSupPr>
                          <m:ctrlPr>
                            <a:rPr lang="en-GB" sz="2800" b="0" i="1" smtClean="0">
                              <a:latin typeface="Cambria Math" panose="02040503050406030204" pitchFamily="18" charset="0"/>
                            </a:rPr>
                          </m:ctrlPr>
                        </m:sSupPr>
                        <m:e>
                          <m:r>
                            <a:rPr lang="en-GB" sz="2800" b="0" i="1" smtClean="0">
                              <a:latin typeface="Cambria Math" panose="02040503050406030204" pitchFamily="18" charset="0"/>
                            </a:rPr>
                            <m:t>𝑏</m:t>
                          </m:r>
                        </m:e>
                        <m:sup>
                          <m:r>
                            <a:rPr lang="en-GB" sz="2800" b="0" i="1" smtClean="0">
                              <a:latin typeface="Cambria Math" panose="02040503050406030204" pitchFamily="18" charset="0"/>
                            </a:rPr>
                            <m:t>2</m:t>
                          </m:r>
                        </m:sup>
                      </m:sSup>
                      <m:r>
                        <a:rPr lang="en-GB" sz="2800" b="0" i="1" smtClean="0">
                          <a:latin typeface="Cambria Math" panose="02040503050406030204" pitchFamily="18" charset="0"/>
                        </a:rPr>
                        <m:t>+</m:t>
                      </m:r>
                      <m:sSup>
                        <m:sSupPr>
                          <m:ctrlPr>
                            <a:rPr lang="en-GB" sz="2800" b="0" i="1" smtClean="0">
                              <a:latin typeface="Cambria Math" panose="02040503050406030204" pitchFamily="18" charset="0"/>
                            </a:rPr>
                          </m:ctrlPr>
                        </m:sSupPr>
                        <m:e>
                          <m:r>
                            <a:rPr lang="en-GB" sz="2800" b="0" i="1" smtClean="0">
                              <a:latin typeface="Cambria Math" panose="02040503050406030204" pitchFamily="18" charset="0"/>
                            </a:rPr>
                            <m:t>𝑐</m:t>
                          </m:r>
                        </m:e>
                        <m:sup>
                          <m:r>
                            <a:rPr lang="en-GB" sz="2800" b="0" i="1" smtClean="0">
                              <a:latin typeface="Cambria Math" panose="02040503050406030204" pitchFamily="18" charset="0"/>
                            </a:rPr>
                            <m:t>2</m:t>
                          </m:r>
                        </m:sup>
                      </m:sSup>
                      <m:r>
                        <a:rPr lang="en-GB" sz="2800" b="0" i="1" smtClean="0">
                          <a:latin typeface="Cambria Math" panose="02040503050406030204" pitchFamily="18" charset="0"/>
                        </a:rPr>
                        <m:t>−2</m:t>
                      </m:r>
                      <m:r>
                        <a:rPr lang="en-GB" sz="2800" b="0" i="1" smtClean="0">
                          <a:latin typeface="Cambria Math" panose="02040503050406030204" pitchFamily="18" charset="0"/>
                        </a:rPr>
                        <m:t>𝑏𝑐𝐶𝑜𝑠𝐴</m:t>
                      </m:r>
                    </m:oMath>
                  </m:oMathPara>
                </a14:m>
                <a:endParaRPr lang="en-GB" sz="2800">
                  <a:latin typeface="Inter" panose="02000503000000020004" pitchFamily="2" charset="0"/>
                  <a:ea typeface="Inter" panose="02000503000000020004" pitchFamily="2" charset="0"/>
                </a:endParaRPr>
              </a:p>
            </p:txBody>
          </p:sp>
        </mc:Choice>
        <mc:Fallback xmlns="">
          <p:sp>
            <p:nvSpPr>
              <p:cNvPr id="36" name="TextBox 35">
                <a:extLst>
                  <a:ext uri="{FF2B5EF4-FFF2-40B4-BE49-F238E27FC236}">
                    <a16:creationId xmlns:a16="http://schemas.microsoft.com/office/drawing/2014/main" id="{66347B95-A3EC-4BD1-A72A-5EAF58743D03}"/>
                  </a:ext>
                </a:extLst>
              </p:cNvPr>
              <p:cNvSpPr txBox="1">
                <a:spLocks noRot="1" noChangeAspect="1" noMove="1" noResize="1" noEditPoints="1" noAdjustHandles="1" noChangeArrowheads="1" noChangeShapeType="1" noTextEdit="1"/>
              </p:cNvSpPr>
              <p:nvPr/>
            </p:nvSpPr>
            <p:spPr>
              <a:xfrm>
                <a:off x="3030875" y="5370581"/>
                <a:ext cx="5373385" cy="523220"/>
              </a:xfrm>
              <a:prstGeom prst="rect">
                <a:avLst/>
              </a:prstGeom>
              <a:blipFill>
                <a:blip r:embed="rId3"/>
                <a:stretch>
                  <a:fillRect/>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3161A86C-9C08-1846-73D9-DC2106D043A7}"/>
              </a:ext>
            </a:extLst>
          </p:cNvPr>
          <p:cNvSpPr txBox="1"/>
          <p:nvPr/>
        </p:nvSpPr>
        <p:spPr>
          <a:xfrm>
            <a:off x="6814159" y="1289425"/>
            <a:ext cx="4344857" cy="3477875"/>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In pairs, try to generate your own questions for another pair in the room to answer. You must have completed your own question with a complete solution before passing it to another pair.</a:t>
            </a:r>
          </a:p>
          <a:p>
            <a:endParaRPr lang="en-GB" sz="2000">
              <a:latin typeface="Inter" panose="02000503000000020004" pitchFamily="2" charset="0"/>
              <a:ea typeface="Inter" panose="02000503000000020004" pitchFamily="2" charset="0"/>
            </a:endParaRPr>
          </a:p>
          <a:p>
            <a:r>
              <a:rPr lang="en-GB" sz="2000">
                <a:latin typeface="Inter" panose="02000503000000020004" pitchFamily="2" charset="0"/>
                <a:ea typeface="Inter" panose="02000503000000020004" pitchFamily="2" charset="0"/>
              </a:rPr>
              <a:t>If a pair complete the solution, they can present their solution to the class and have it confirmed or denied by the pair who wrote it.</a:t>
            </a:r>
          </a:p>
        </p:txBody>
      </p:sp>
      <p:pic>
        <p:nvPicPr>
          <p:cNvPr id="4" name="Graphic 3">
            <a:extLst>
              <a:ext uri="{FF2B5EF4-FFF2-40B4-BE49-F238E27FC236}">
                <a16:creationId xmlns:a16="http://schemas.microsoft.com/office/drawing/2014/main" id="{B0C7F3A4-F08A-51F3-63BB-767196833F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3124948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4" name="Text Placeholder 3">
            <a:extLst>
              <a:ext uri="{FF2B5EF4-FFF2-40B4-BE49-F238E27FC236}">
                <a16:creationId xmlns:a16="http://schemas.microsoft.com/office/drawing/2014/main" id="{8460BD43-C3E5-7F71-5BB7-BD7C6ED8DB2C}"/>
              </a:ext>
            </a:extLst>
          </p:cNvPr>
          <p:cNvSpPr>
            <a:spLocks noGrp="1"/>
          </p:cNvSpPr>
          <p:nvPr>
            <p:ph type="body" sz="quarter" idx="10"/>
          </p:nvPr>
        </p:nvSpPr>
        <p:spPr/>
        <p:txBody>
          <a:bodyPr/>
          <a:lstStyle/>
          <a:p>
            <a:pPr>
              <a:lnSpc>
                <a:spcPct val="100000"/>
              </a:lnSpc>
            </a:pPr>
            <a:r>
              <a:rPr lang="en-GB"/>
              <a:t>Head over to the Cummins website and try to find as many different types of mathematical topics used in the day to day running of the factory. Can you combine that with which jobs and careers will use each type of mathematics topic that you find</a:t>
            </a:r>
            <a:r>
              <a:rPr lang="en-GB" sz="1800"/>
              <a:t>? </a:t>
            </a:r>
            <a:r>
              <a:rPr lang="en-GB"/>
              <a:t>Use the links that follow to assist you in making a list of any transferable skills between your current learning and those required to work at a company such as Cummins, in whichever department you would choose.</a:t>
            </a:r>
            <a:br>
              <a:rPr lang="en-GB"/>
            </a:br>
            <a:br>
              <a:rPr lang="en-GB" sz="2400"/>
            </a:br>
            <a:r>
              <a:rPr lang="en-GB" sz="1800">
                <a:hlinkClick r:id="rId3"/>
              </a:rPr>
              <a:t>https://www.cummins.com/eu/darlington-uk</a:t>
            </a:r>
            <a:br>
              <a:rPr lang="en-GB" sz="1800"/>
            </a:br>
            <a:br>
              <a:rPr lang="en-GB" sz="1800"/>
            </a:br>
            <a:r>
              <a:rPr lang="en-GB" sz="1600"/>
              <a:t>Darlington – </a:t>
            </a:r>
            <a:r>
              <a:rPr lang="en-GB" sz="1600">
                <a:hlinkClick r:id="rId4"/>
              </a:rPr>
              <a:t>https://teesvalley-ca.gov.uk/work/wp-content/uploads/sites/6/2025/01/Darlington-LMI-Tees-Valley-Poster.pdf</a:t>
            </a:r>
            <a:br>
              <a:rPr lang="en-GB" sz="1600"/>
            </a:br>
            <a:r>
              <a:rPr lang="en-GB" sz="1600"/>
              <a:t> </a:t>
            </a:r>
            <a:br>
              <a:rPr lang="en-GB" sz="1600"/>
            </a:br>
            <a:r>
              <a:rPr lang="en-GB" sz="1600"/>
              <a:t>Automotive Sector - </a:t>
            </a:r>
            <a:r>
              <a:rPr lang="en-GB" sz="1600">
                <a:hlinkClick r:id="rId5" tooltip="https://teesvalley-ca.gov.uk/business/automotive-and-aerospace/"/>
              </a:rPr>
              <a:t>https://teesvalley-ca.gov.uk/business/automotive-and-aerospace/</a:t>
            </a:r>
            <a:br>
              <a:rPr lang="en-GB" sz="1600"/>
            </a:br>
            <a:r>
              <a:rPr lang="en-GB" sz="1600"/>
              <a:t> </a:t>
            </a:r>
            <a:br>
              <a:rPr lang="en-GB" sz="1600"/>
            </a:br>
            <a:r>
              <a:rPr lang="en-GB" sz="1600"/>
              <a:t>Workbook - </a:t>
            </a:r>
            <a:r>
              <a:rPr lang="en-GB" sz="1600">
                <a:hlinkClick r:id="rId6" tooltip="https://teesvalley-ca.gov.uk/work/wp-content/uploads/sites/6/2025/01/Automotive-Aerospace-digital.pdf"/>
              </a:rPr>
              <a:t>https://teesvalley-ca.gov.uk/work/wp-content/uploads/sites/6/2025/01/Automotive-Aerospace-digital.pdf</a:t>
            </a:r>
            <a:endParaRPr lang="en-US"/>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a:xfrm>
            <a:off x="334107" y="423741"/>
            <a:ext cx="11486417" cy="572721"/>
          </a:xfrm>
        </p:spPr>
        <p:txBody>
          <a:bodyPr/>
          <a:lstStyle/>
          <a:p>
            <a:r>
              <a:rPr lang="en-GB"/>
              <a:t>Cummins Research – Find out more:</a:t>
            </a:r>
          </a:p>
        </p:txBody>
      </p:sp>
      <p:pic>
        <p:nvPicPr>
          <p:cNvPr id="2" name="Graphic 1">
            <a:extLst>
              <a:ext uri="{FF2B5EF4-FFF2-40B4-BE49-F238E27FC236}">
                <a16:creationId xmlns:a16="http://schemas.microsoft.com/office/drawing/2014/main" id="{77A68D2C-79C1-02DA-4863-BDDE7D22CD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2919526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CA998-0BF1-9F00-0924-F19425B688BD}"/>
              </a:ext>
            </a:extLst>
          </p:cNvPr>
          <p:cNvSpPr>
            <a:spLocks noGrp="1"/>
          </p:cNvSpPr>
          <p:nvPr>
            <p:ph type="title"/>
          </p:nvPr>
        </p:nvSpPr>
        <p:spPr/>
        <p:txBody>
          <a:bodyPr/>
          <a:lstStyle/>
          <a:p>
            <a:r>
              <a:rPr lang="en-US"/>
              <a:t>Any questions?</a:t>
            </a:r>
          </a:p>
        </p:txBody>
      </p:sp>
      <p:pic>
        <p:nvPicPr>
          <p:cNvPr id="3" name="Graphic 2">
            <a:extLst>
              <a:ext uri="{FF2B5EF4-FFF2-40B4-BE49-F238E27FC236}">
                <a16:creationId xmlns:a16="http://schemas.microsoft.com/office/drawing/2014/main" id="{C51AA3BD-2A97-3286-47DF-DD5639A561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277872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a:t>Introduction to Cummins</a:t>
            </a:r>
          </a:p>
        </p:txBody>
      </p:sp>
      <p:pic>
        <p:nvPicPr>
          <p:cNvPr id="2" name="Online Media 1" title="Welcome to the Cummins campus at Darlington UK">
            <a:hlinkClick r:id="" action="ppaction://media"/>
            <a:extLst>
              <a:ext uri="{FF2B5EF4-FFF2-40B4-BE49-F238E27FC236}">
                <a16:creationId xmlns:a16="http://schemas.microsoft.com/office/drawing/2014/main" id="{6903CD1C-7677-4C79-83AC-2F75771E5B00}"/>
              </a:ext>
            </a:extLst>
          </p:cNvPr>
          <p:cNvPicPr>
            <a:picLocks noRot="1" noChangeAspect="1"/>
          </p:cNvPicPr>
          <p:nvPr>
            <a:videoFile r:link="rId1"/>
          </p:nvPr>
        </p:nvPicPr>
        <p:blipFill>
          <a:blip r:embed="rId4"/>
          <a:stretch>
            <a:fillRect/>
          </a:stretch>
        </p:blipFill>
        <p:spPr>
          <a:xfrm>
            <a:off x="334107" y="1111966"/>
            <a:ext cx="9597478" cy="5398582"/>
          </a:xfrm>
          <a:prstGeom prst="rect">
            <a:avLst/>
          </a:prstGeom>
        </p:spPr>
      </p:pic>
    </p:spTree>
    <p:extLst>
      <p:ext uri="{BB962C8B-B14F-4D97-AF65-F5344CB8AC3E}">
        <p14:creationId xmlns:p14="http://schemas.microsoft.com/office/powerpoint/2010/main" val="2815727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5" name="Text Placeholder 4">
            <a:extLst>
              <a:ext uri="{FF2B5EF4-FFF2-40B4-BE49-F238E27FC236}">
                <a16:creationId xmlns:a16="http://schemas.microsoft.com/office/drawing/2014/main" id="{E53FB90E-3B9F-37A4-5629-A6F5E9BD71B1}"/>
              </a:ext>
            </a:extLst>
          </p:cNvPr>
          <p:cNvSpPr>
            <a:spLocks noGrp="1"/>
          </p:cNvSpPr>
          <p:nvPr>
            <p:ph type="body" sz="quarter" idx="10"/>
          </p:nvPr>
        </p:nvSpPr>
        <p:spPr/>
        <p:txBody>
          <a:bodyPr/>
          <a:lstStyle/>
          <a:p>
            <a:r>
              <a:rPr lang="en-GB"/>
              <a:t>There are various job roles within the Cummins factory in Darlington, with jobs in finance, HR, engineering and many more. </a:t>
            </a:r>
          </a:p>
          <a:p>
            <a:r>
              <a:rPr lang="en-GB"/>
              <a:t>We are going to look at a problem that will have been faced by robot programmers in trying to set up the robotic arms that carry out many of the day to day engine building tasks. These arms work alongside human engineers to ensure that the work is completed in a timely manner, while also increasing safety by reducing risks towards human workers.</a:t>
            </a: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a:xfrm>
            <a:off x="334107" y="423741"/>
            <a:ext cx="11486417" cy="572721"/>
          </a:xfrm>
        </p:spPr>
        <p:txBody>
          <a:bodyPr/>
          <a:lstStyle/>
          <a:p>
            <a:r>
              <a:rPr lang="en-GB"/>
              <a:t>Introduction to Cummins</a:t>
            </a:r>
          </a:p>
        </p:txBody>
      </p:sp>
      <p:pic>
        <p:nvPicPr>
          <p:cNvPr id="2" name="Graphic 1">
            <a:extLst>
              <a:ext uri="{FF2B5EF4-FFF2-40B4-BE49-F238E27FC236}">
                <a16:creationId xmlns:a16="http://schemas.microsoft.com/office/drawing/2014/main" id="{82B35AED-D29C-AC22-1735-0BE9249C2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441250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5" name="Text Placeholder 4">
            <a:extLst>
              <a:ext uri="{FF2B5EF4-FFF2-40B4-BE49-F238E27FC236}">
                <a16:creationId xmlns:a16="http://schemas.microsoft.com/office/drawing/2014/main" id="{C64F025F-2433-DF08-9677-92B3FE6BFFBA}"/>
              </a:ext>
            </a:extLst>
          </p:cNvPr>
          <p:cNvSpPr>
            <a:spLocks noGrp="1"/>
          </p:cNvSpPr>
          <p:nvPr>
            <p:ph type="body" sz="quarter" idx="10"/>
          </p:nvPr>
        </p:nvSpPr>
        <p:spPr/>
        <p:txBody>
          <a:bodyPr/>
          <a:lstStyle/>
          <a:p>
            <a:r>
              <a:rPr lang="en-GB"/>
              <a:t>Throughout the factory at Cummins, there are many robotic arms that must pivot between different sections of an engine.</a:t>
            </a:r>
          </a:p>
          <a:p>
            <a:endParaRPr lang="en-GB"/>
          </a:p>
          <a:p>
            <a:r>
              <a:rPr lang="en-GB"/>
              <a:t>They must be coded to understand and recognise the position of each part of the engine they aim to work on. However, in order to code this, the robot must be programmed with trigonometry to calculate the angle it is required to move, and the distance it must travel.</a:t>
            </a: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a:xfrm>
            <a:off x="334107" y="423741"/>
            <a:ext cx="11486417" cy="572721"/>
          </a:xfrm>
        </p:spPr>
        <p:txBody>
          <a:bodyPr/>
          <a:lstStyle/>
          <a:p>
            <a:r>
              <a:rPr lang="en-GB"/>
              <a:t>Trigonometry – Posing a problem – Cosine Rule</a:t>
            </a:r>
          </a:p>
        </p:txBody>
      </p:sp>
      <p:pic>
        <p:nvPicPr>
          <p:cNvPr id="2" name="Graphic 1">
            <a:extLst>
              <a:ext uri="{FF2B5EF4-FFF2-40B4-BE49-F238E27FC236}">
                <a16:creationId xmlns:a16="http://schemas.microsoft.com/office/drawing/2014/main" id="{3620324B-0084-D778-A627-4C8A3EA25B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108703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a:t>Trigonometry – The Problem</a:t>
            </a:r>
          </a:p>
        </p:txBody>
      </p:sp>
      <p:sp>
        <p:nvSpPr>
          <p:cNvPr id="4" name="TextBox 3">
            <a:extLst>
              <a:ext uri="{FF2B5EF4-FFF2-40B4-BE49-F238E27FC236}">
                <a16:creationId xmlns:a16="http://schemas.microsoft.com/office/drawing/2014/main" id="{20A4BD84-B4A2-4BE8-88CE-AAEC69ED8D0D}"/>
              </a:ext>
            </a:extLst>
          </p:cNvPr>
          <p:cNvSpPr txBox="1"/>
          <p:nvPr/>
        </p:nvSpPr>
        <p:spPr>
          <a:xfrm>
            <a:off x="6814159" y="1289425"/>
            <a:ext cx="4344857" cy="2800767"/>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Here we have three points, D, E and F.  D and E represent two points on any given engine structure, with the robot arm stationed at point F. If the arm is working at D, and has to move towards point E, it will have to turn through an angle at point F.</a:t>
            </a:r>
          </a:p>
          <a:p>
            <a:endParaRPr lang="en-GB" sz="1600">
              <a:latin typeface="Inter" panose="02000503000000020004" pitchFamily="2" charset="0"/>
              <a:ea typeface="Inter" panose="02000503000000020004" pitchFamily="2" charset="0"/>
            </a:endParaRPr>
          </a:p>
        </p:txBody>
      </p:sp>
      <p:sp>
        <p:nvSpPr>
          <p:cNvPr id="5" name="Oval 4">
            <a:extLst>
              <a:ext uri="{FF2B5EF4-FFF2-40B4-BE49-F238E27FC236}">
                <a16:creationId xmlns:a16="http://schemas.microsoft.com/office/drawing/2014/main" id="{F09A1541-C935-024D-28A2-733E2332CB1A}"/>
              </a:ext>
            </a:extLst>
          </p:cNvPr>
          <p:cNvSpPr/>
          <p:nvPr/>
        </p:nvSpPr>
        <p:spPr>
          <a:xfrm>
            <a:off x="1114222" y="1523311"/>
            <a:ext cx="475989" cy="438411"/>
          </a:xfrm>
          <a:prstGeom prst="ellipse">
            <a:avLst/>
          </a:prstGeom>
          <a:solidFill>
            <a:srgbClr val="3E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D</a:t>
            </a:r>
          </a:p>
        </p:txBody>
      </p:sp>
      <p:sp>
        <p:nvSpPr>
          <p:cNvPr id="8" name="Oval 7">
            <a:extLst>
              <a:ext uri="{FF2B5EF4-FFF2-40B4-BE49-F238E27FC236}">
                <a16:creationId xmlns:a16="http://schemas.microsoft.com/office/drawing/2014/main" id="{68DBBFC7-CC45-A00E-4802-FE485D889354}"/>
              </a:ext>
            </a:extLst>
          </p:cNvPr>
          <p:cNvSpPr/>
          <p:nvPr/>
        </p:nvSpPr>
        <p:spPr>
          <a:xfrm>
            <a:off x="4661175" y="242067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E</a:t>
            </a:r>
          </a:p>
        </p:txBody>
      </p:sp>
      <p:sp>
        <p:nvSpPr>
          <p:cNvPr id="9" name="Oval 8">
            <a:extLst>
              <a:ext uri="{FF2B5EF4-FFF2-40B4-BE49-F238E27FC236}">
                <a16:creationId xmlns:a16="http://schemas.microsoft.com/office/drawing/2014/main" id="{2813E2F2-2874-DEBF-488B-4C50C2F6ABC6}"/>
              </a:ext>
            </a:extLst>
          </p:cNvPr>
          <p:cNvSpPr/>
          <p:nvPr/>
        </p:nvSpPr>
        <p:spPr>
          <a:xfrm>
            <a:off x="1590211" y="4740076"/>
            <a:ext cx="475989" cy="43841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F</a:t>
            </a:r>
          </a:p>
        </p:txBody>
      </p:sp>
      <p:pic>
        <p:nvPicPr>
          <p:cNvPr id="2" name="Graphic 1">
            <a:extLst>
              <a:ext uri="{FF2B5EF4-FFF2-40B4-BE49-F238E27FC236}">
                <a16:creationId xmlns:a16="http://schemas.microsoft.com/office/drawing/2014/main" id="{E32944F7-7622-B152-50E8-E1CB7BCF35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365355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u="sng"/>
              <a:t>Trigonometry – The Problem</a:t>
            </a:r>
          </a:p>
        </p:txBody>
      </p:sp>
      <p:cxnSp>
        <p:nvCxnSpPr>
          <p:cNvPr id="5" name="Straight Connector 4">
            <a:extLst>
              <a:ext uri="{FF2B5EF4-FFF2-40B4-BE49-F238E27FC236}">
                <a16:creationId xmlns:a16="http://schemas.microsoft.com/office/drawing/2014/main" id="{7799BBD5-DC77-4AF8-A713-33D3F7D48B39}"/>
              </a:ext>
            </a:extLst>
          </p:cNvPr>
          <p:cNvCxnSpPr>
            <a:cxnSpLocks/>
          </p:cNvCxnSpPr>
          <p:nvPr/>
        </p:nvCxnSpPr>
        <p:spPr>
          <a:xfrm flipH="1" flipV="1">
            <a:off x="1339692" y="1742517"/>
            <a:ext cx="475989" cy="3194137"/>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EC7DE38-5BC8-4DCF-85C9-E21E826F068E}"/>
              </a:ext>
            </a:extLst>
          </p:cNvPr>
          <p:cNvCxnSpPr>
            <a:cxnSpLocks/>
          </p:cNvCxnSpPr>
          <p:nvPr/>
        </p:nvCxnSpPr>
        <p:spPr>
          <a:xfrm flipV="1">
            <a:off x="1815681" y="2639879"/>
            <a:ext cx="3018772" cy="2296776"/>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285CBA6-0E4F-44D7-B0AC-ACA58281E559}"/>
              </a:ext>
            </a:extLst>
          </p:cNvPr>
          <p:cNvCxnSpPr>
            <a:cxnSpLocks/>
          </p:cNvCxnSpPr>
          <p:nvPr/>
        </p:nvCxnSpPr>
        <p:spPr>
          <a:xfrm flipH="1" flipV="1">
            <a:off x="1329418" y="1742517"/>
            <a:ext cx="3494761" cy="926926"/>
          </a:xfrm>
          <a:prstGeom prst="line">
            <a:avLst/>
          </a:prstGeom>
        </p:spPr>
        <p:style>
          <a:lnRef idx="1">
            <a:schemeClr val="dk1"/>
          </a:lnRef>
          <a:fillRef idx="0">
            <a:schemeClr val="dk1"/>
          </a:fillRef>
          <a:effectRef idx="0">
            <a:schemeClr val="dk1"/>
          </a:effectRef>
          <a:fontRef idx="minor">
            <a:schemeClr val="tx1"/>
          </a:fontRef>
        </p:style>
      </p:cxnSp>
      <p:sp>
        <p:nvSpPr>
          <p:cNvPr id="18" name="Arc 17">
            <a:extLst>
              <a:ext uri="{FF2B5EF4-FFF2-40B4-BE49-F238E27FC236}">
                <a16:creationId xmlns:a16="http://schemas.microsoft.com/office/drawing/2014/main" id="{AE1ED037-CC57-4D95-B24E-59004D4CE232}"/>
              </a:ext>
            </a:extLst>
          </p:cNvPr>
          <p:cNvSpPr/>
          <p:nvPr/>
        </p:nvSpPr>
        <p:spPr>
          <a:xfrm>
            <a:off x="1277058" y="4384282"/>
            <a:ext cx="951978" cy="552372"/>
          </a:xfrm>
          <a:prstGeom prst="arc">
            <a:avLst>
              <a:gd name="adj1" fmla="val 15871907"/>
              <a:gd name="adj2" fmla="val 21323437"/>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C6F8CEEF-DAB4-4236-B0F3-702BAAF33F7A}"/>
              </a:ext>
            </a:extLst>
          </p:cNvPr>
          <p:cNvSpPr txBox="1"/>
          <p:nvPr/>
        </p:nvSpPr>
        <p:spPr>
          <a:xfrm>
            <a:off x="1890839" y="4030513"/>
            <a:ext cx="400831" cy="369332"/>
          </a:xfrm>
          <a:prstGeom prst="rect">
            <a:avLst/>
          </a:prstGeom>
          <a:noFill/>
        </p:spPr>
        <p:txBody>
          <a:bodyPr wrap="square" rtlCol="0">
            <a:spAutoFit/>
          </a:bodyPr>
          <a:lstStyle/>
          <a:p>
            <a:r>
              <a:rPr lang="en-GB" b="1">
                <a:latin typeface="Inter" panose="02000503000000020004" pitchFamily="2" charset="0"/>
                <a:ea typeface="Inter" panose="02000503000000020004" pitchFamily="2" charset="0"/>
              </a:rPr>
              <a:t>X</a:t>
            </a:r>
          </a:p>
        </p:txBody>
      </p:sp>
      <p:sp>
        <p:nvSpPr>
          <p:cNvPr id="2" name="Oval 1">
            <a:extLst>
              <a:ext uri="{FF2B5EF4-FFF2-40B4-BE49-F238E27FC236}">
                <a16:creationId xmlns:a16="http://schemas.microsoft.com/office/drawing/2014/main" id="{D754B059-B2ED-4A58-A646-DC0E7394658C}"/>
              </a:ext>
            </a:extLst>
          </p:cNvPr>
          <p:cNvSpPr/>
          <p:nvPr/>
        </p:nvSpPr>
        <p:spPr>
          <a:xfrm>
            <a:off x="1114222" y="1523311"/>
            <a:ext cx="475989" cy="438411"/>
          </a:xfrm>
          <a:prstGeom prst="ellipse">
            <a:avLst/>
          </a:prstGeom>
          <a:solidFill>
            <a:srgbClr val="3E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D</a:t>
            </a:r>
          </a:p>
        </p:txBody>
      </p:sp>
      <p:sp>
        <p:nvSpPr>
          <p:cNvPr id="6" name="Oval 5">
            <a:extLst>
              <a:ext uri="{FF2B5EF4-FFF2-40B4-BE49-F238E27FC236}">
                <a16:creationId xmlns:a16="http://schemas.microsoft.com/office/drawing/2014/main" id="{AA655FF5-49B4-49AA-B33B-6C62BDA1ACB1}"/>
              </a:ext>
            </a:extLst>
          </p:cNvPr>
          <p:cNvSpPr/>
          <p:nvPr/>
        </p:nvSpPr>
        <p:spPr>
          <a:xfrm>
            <a:off x="4661175" y="242067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E</a:t>
            </a:r>
          </a:p>
        </p:txBody>
      </p:sp>
      <p:sp>
        <p:nvSpPr>
          <p:cNvPr id="7" name="Oval 6">
            <a:extLst>
              <a:ext uri="{FF2B5EF4-FFF2-40B4-BE49-F238E27FC236}">
                <a16:creationId xmlns:a16="http://schemas.microsoft.com/office/drawing/2014/main" id="{BBF068AF-600C-4DD9-88AE-E3F712CCEC68}"/>
              </a:ext>
            </a:extLst>
          </p:cNvPr>
          <p:cNvSpPr/>
          <p:nvPr/>
        </p:nvSpPr>
        <p:spPr>
          <a:xfrm>
            <a:off x="1590211" y="4740076"/>
            <a:ext cx="475989" cy="4384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F</a:t>
            </a:r>
          </a:p>
        </p:txBody>
      </p:sp>
      <p:sp>
        <p:nvSpPr>
          <p:cNvPr id="14" name="TextBox 13">
            <a:extLst>
              <a:ext uri="{FF2B5EF4-FFF2-40B4-BE49-F238E27FC236}">
                <a16:creationId xmlns:a16="http://schemas.microsoft.com/office/drawing/2014/main" id="{FE62A947-F0CD-A4EB-7AF3-D783599B45BF}"/>
              </a:ext>
            </a:extLst>
          </p:cNvPr>
          <p:cNvSpPr txBox="1"/>
          <p:nvPr/>
        </p:nvSpPr>
        <p:spPr>
          <a:xfrm>
            <a:off x="6814159" y="1289425"/>
            <a:ext cx="4344857" cy="156966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Using the information regarding the movements, we can model this as a triangle. The angle we wish to find we will label x.</a:t>
            </a:r>
          </a:p>
          <a:p>
            <a:endParaRPr lang="en-GB" sz="1600">
              <a:latin typeface="Inter" panose="02000503000000020004" pitchFamily="2" charset="0"/>
              <a:ea typeface="Inter" panose="02000503000000020004" pitchFamily="2" charset="0"/>
            </a:endParaRPr>
          </a:p>
        </p:txBody>
      </p:sp>
      <p:pic>
        <p:nvPicPr>
          <p:cNvPr id="4" name="Graphic 3">
            <a:extLst>
              <a:ext uri="{FF2B5EF4-FFF2-40B4-BE49-F238E27FC236}">
                <a16:creationId xmlns:a16="http://schemas.microsoft.com/office/drawing/2014/main" id="{AE2531B4-A322-A063-D1F9-0AA7F409E3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264017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u="sng"/>
              <a:t>Trigonometry – The Problem</a:t>
            </a:r>
          </a:p>
        </p:txBody>
      </p:sp>
      <p:sp>
        <p:nvSpPr>
          <p:cNvPr id="4" name="TextBox 3">
            <a:extLst>
              <a:ext uri="{FF2B5EF4-FFF2-40B4-BE49-F238E27FC236}">
                <a16:creationId xmlns:a16="http://schemas.microsoft.com/office/drawing/2014/main" id="{16957056-9A32-4CDF-9CA4-182EDA277506}"/>
              </a:ext>
            </a:extLst>
          </p:cNvPr>
          <p:cNvSpPr txBox="1"/>
          <p:nvPr/>
        </p:nvSpPr>
        <p:spPr>
          <a:xfrm>
            <a:off x="3432581" y="3800692"/>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8m</a:t>
            </a:r>
          </a:p>
        </p:txBody>
      </p:sp>
      <p:sp>
        <p:nvSpPr>
          <p:cNvPr id="13" name="TextBox 12">
            <a:extLst>
              <a:ext uri="{FF2B5EF4-FFF2-40B4-BE49-F238E27FC236}">
                <a16:creationId xmlns:a16="http://schemas.microsoft.com/office/drawing/2014/main" id="{99DF0BF1-15EC-47EE-AB76-69F5D0033E23}"/>
              </a:ext>
            </a:extLst>
          </p:cNvPr>
          <p:cNvSpPr txBox="1"/>
          <p:nvPr/>
        </p:nvSpPr>
        <p:spPr>
          <a:xfrm>
            <a:off x="450933" y="3006305"/>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5m</a:t>
            </a:r>
          </a:p>
        </p:txBody>
      </p:sp>
      <p:sp>
        <p:nvSpPr>
          <p:cNvPr id="14" name="TextBox 13">
            <a:extLst>
              <a:ext uri="{FF2B5EF4-FFF2-40B4-BE49-F238E27FC236}">
                <a16:creationId xmlns:a16="http://schemas.microsoft.com/office/drawing/2014/main" id="{038FEAD1-B307-42D8-AEAA-AD17CE815CA2}"/>
              </a:ext>
            </a:extLst>
          </p:cNvPr>
          <p:cNvSpPr txBox="1"/>
          <p:nvPr/>
        </p:nvSpPr>
        <p:spPr>
          <a:xfrm>
            <a:off x="2789125" y="1512027"/>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65m</a:t>
            </a:r>
          </a:p>
        </p:txBody>
      </p:sp>
      <p:cxnSp>
        <p:nvCxnSpPr>
          <p:cNvPr id="9" name="Straight Connector 8">
            <a:extLst>
              <a:ext uri="{FF2B5EF4-FFF2-40B4-BE49-F238E27FC236}">
                <a16:creationId xmlns:a16="http://schemas.microsoft.com/office/drawing/2014/main" id="{FAA15192-C1AB-7A68-93CB-FDDBDC7B8F60}"/>
              </a:ext>
            </a:extLst>
          </p:cNvPr>
          <p:cNvCxnSpPr>
            <a:cxnSpLocks/>
          </p:cNvCxnSpPr>
          <p:nvPr/>
        </p:nvCxnSpPr>
        <p:spPr>
          <a:xfrm flipH="1" flipV="1">
            <a:off x="1339692" y="1742517"/>
            <a:ext cx="475989" cy="3194137"/>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9288D3D-AD86-043E-ED64-34A3DB5698F1}"/>
              </a:ext>
            </a:extLst>
          </p:cNvPr>
          <p:cNvCxnSpPr>
            <a:cxnSpLocks/>
          </p:cNvCxnSpPr>
          <p:nvPr/>
        </p:nvCxnSpPr>
        <p:spPr>
          <a:xfrm flipV="1">
            <a:off x="1815681" y="2639879"/>
            <a:ext cx="3018772" cy="2296776"/>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F5F6C49-14B7-338D-4209-F489EED3463B}"/>
              </a:ext>
            </a:extLst>
          </p:cNvPr>
          <p:cNvCxnSpPr>
            <a:cxnSpLocks/>
          </p:cNvCxnSpPr>
          <p:nvPr/>
        </p:nvCxnSpPr>
        <p:spPr>
          <a:xfrm flipH="1" flipV="1">
            <a:off x="1329418" y="1742517"/>
            <a:ext cx="3494761" cy="926926"/>
          </a:xfrm>
          <a:prstGeom prst="line">
            <a:avLst/>
          </a:prstGeom>
        </p:spPr>
        <p:style>
          <a:lnRef idx="1">
            <a:schemeClr val="dk1"/>
          </a:lnRef>
          <a:fillRef idx="0">
            <a:schemeClr val="dk1"/>
          </a:fillRef>
          <a:effectRef idx="0">
            <a:schemeClr val="dk1"/>
          </a:effectRef>
          <a:fontRef idx="minor">
            <a:schemeClr val="tx1"/>
          </a:fontRef>
        </p:style>
      </p:cxnSp>
      <p:sp>
        <p:nvSpPr>
          <p:cNvPr id="17" name="Arc 16">
            <a:extLst>
              <a:ext uri="{FF2B5EF4-FFF2-40B4-BE49-F238E27FC236}">
                <a16:creationId xmlns:a16="http://schemas.microsoft.com/office/drawing/2014/main" id="{EE95793A-01E2-3250-8A60-672B5ECE99CA}"/>
              </a:ext>
            </a:extLst>
          </p:cNvPr>
          <p:cNvSpPr/>
          <p:nvPr/>
        </p:nvSpPr>
        <p:spPr>
          <a:xfrm>
            <a:off x="1277058" y="4384282"/>
            <a:ext cx="951978" cy="552372"/>
          </a:xfrm>
          <a:prstGeom prst="arc">
            <a:avLst>
              <a:gd name="adj1" fmla="val 15871907"/>
              <a:gd name="adj2" fmla="val 21323437"/>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0" name="TextBox 19">
            <a:extLst>
              <a:ext uri="{FF2B5EF4-FFF2-40B4-BE49-F238E27FC236}">
                <a16:creationId xmlns:a16="http://schemas.microsoft.com/office/drawing/2014/main" id="{FA6E4F81-F142-C91A-CD06-50115B958672}"/>
              </a:ext>
            </a:extLst>
          </p:cNvPr>
          <p:cNvSpPr txBox="1"/>
          <p:nvPr/>
        </p:nvSpPr>
        <p:spPr>
          <a:xfrm>
            <a:off x="1890839" y="4030513"/>
            <a:ext cx="400831" cy="369332"/>
          </a:xfrm>
          <a:prstGeom prst="rect">
            <a:avLst/>
          </a:prstGeom>
          <a:noFill/>
        </p:spPr>
        <p:txBody>
          <a:bodyPr wrap="square" rtlCol="0">
            <a:spAutoFit/>
          </a:bodyPr>
          <a:lstStyle/>
          <a:p>
            <a:r>
              <a:rPr lang="en-GB" b="1">
                <a:latin typeface="Inter" panose="02000503000000020004" pitchFamily="2" charset="0"/>
                <a:ea typeface="Inter" panose="02000503000000020004" pitchFamily="2" charset="0"/>
              </a:rPr>
              <a:t>X</a:t>
            </a:r>
          </a:p>
        </p:txBody>
      </p:sp>
      <p:sp>
        <p:nvSpPr>
          <p:cNvPr id="21" name="Oval 20">
            <a:extLst>
              <a:ext uri="{FF2B5EF4-FFF2-40B4-BE49-F238E27FC236}">
                <a16:creationId xmlns:a16="http://schemas.microsoft.com/office/drawing/2014/main" id="{A930F416-5953-915C-8353-6FE6BCED7BFF}"/>
              </a:ext>
            </a:extLst>
          </p:cNvPr>
          <p:cNvSpPr/>
          <p:nvPr/>
        </p:nvSpPr>
        <p:spPr>
          <a:xfrm>
            <a:off x="1114222" y="1523311"/>
            <a:ext cx="475989" cy="438411"/>
          </a:xfrm>
          <a:prstGeom prst="ellipse">
            <a:avLst/>
          </a:prstGeom>
          <a:solidFill>
            <a:srgbClr val="3E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D</a:t>
            </a:r>
          </a:p>
        </p:txBody>
      </p:sp>
      <p:sp>
        <p:nvSpPr>
          <p:cNvPr id="22" name="Oval 21">
            <a:extLst>
              <a:ext uri="{FF2B5EF4-FFF2-40B4-BE49-F238E27FC236}">
                <a16:creationId xmlns:a16="http://schemas.microsoft.com/office/drawing/2014/main" id="{8CC21B68-F22F-FF7B-B983-5301D1120847}"/>
              </a:ext>
            </a:extLst>
          </p:cNvPr>
          <p:cNvSpPr/>
          <p:nvPr/>
        </p:nvSpPr>
        <p:spPr>
          <a:xfrm>
            <a:off x="4661175" y="242067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E</a:t>
            </a:r>
          </a:p>
        </p:txBody>
      </p:sp>
      <p:sp>
        <p:nvSpPr>
          <p:cNvPr id="23" name="Oval 22">
            <a:extLst>
              <a:ext uri="{FF2B5EF4-FFF2-40B4-BE49-F238E27FC236}">
                <a16:creationId xmlns:a16="http://schemas.microsoft.com/office/drawing/2014/main" id="{43113725-11A8-2D93-0FCD-BFF6ABF22FBB}"/>
              </a:ext>
            </a:extLst>
          </p:cNvPr>
          <p:cNvSpPr/>
          <p:nvPr/>
        </p:nvSpPr>
        <p:spPr>
          <a:xfrm>
            <a:off x="1590211" y="4740076"/>
            <a:ext cx="475989" cy="4384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F</a:t>
            </a:r>
          </a:p>
        </p:txBody>
      </p:sp>
      <p:sp>
        <p:nvSpPr>
          <p:cNvPr id="26" name="TextBox 25">
            <a:extLst>
              <a:ext uri="{FF2B5EF4-FFF2-40B4-BE49-F238E27FC236}">
                <a16:creationId xmlns:a16="http://schemas.microsoft.com/office/drawing/2014/main" id="{13D0FA2A-764A-BFAE-A12C-4C119477DEF1}"/>
              </a:ext>
            </a:extLst>
          </p:cNvPr>
          <p:cNvSpPr txBox="1"/>
          <p:nvPr/>
        </p:nvSpPr>
        <p:spPr>
          <a:xfrm>
            <a:off x="6814159" y="1289425"/>
            <a:ext cx="4344857" cy="341632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Now to solve this problem, we will assume that the robot can calculate the distances between the points in which it needs to travel. The distance from AC will be 1.5 metres, BC will be 1.8 metres, and AB will be 1.65 metres. To work out this missing angle, we shall have to use the cosine rule.</a:t>
            </a:r>
          </a:p>
          <a:p>
            <a:endParaRPr lang="en-GB" sz="1600">
              <a:latin typeface="Inter" panose="02000503000000020004" pitchFamily="2" charset="0"/>
              <a:ea typeface="Inter" panose="02000503000000020004" pitchFamily="2" charset="0"/>
            </a:endParaRPr>
          </a:p>
        </p:txBody>
      </p:sp>
      <p:pic>
        <p:nvPicPr>
          <p:cNvPr id="2" name="Graphic 1">
            <a:extLst>
              <a:ext uri="{FF2B5EF4-FFF2-40B4-BE49-F238E27FC236}">
                <a16:creationId xmlns:a16="http://schemas.microsoft.com/office/drawing/2014/main" id="{33C980E1-AC37-3161-2F05-B9E0E631C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526680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8C3E683F-94E0-B462-AA46-46F7AED51DEB}"/>
                  </a:ext>
                </a:extLst>
              </p:cNvPr>
              <p:cNvSpPr>
                <a:spLocks noGrp="1"/>
              </p:cNvSpPr>
              <p:nvPr>
                <p:ph type="body" sz="quarter" idx="10"/>
              </p:nvPr>
            </p:nvSpPr>
            <p:spPr>
              <a:xfrm>
                <a:off x="333375" y="1276425"/>
                <a:ext cx="4125891" cy="3306762"/>
              </a:xfrm>
            </p:spPr>
            <p:txBody>
              <a:bodyPr/>
              <a:lstStyle/>
              <a:p>
                <a:r>
                  <a:rPr lang="en-GB"/>
                  <a:t>The cosine rule has the formula </a:t>
                </a:r>
                <a14:m>
                  <m:oMath xmlns:m="http://schemas.openxmlformats.org/officeDocument/2006/math">
                    <m:sSup>
                      <m:sSupPr>
                        <m:ctrlPr>
                          <a:rPr lang="en-GB" i="1">
                            <a:latin typeface="Cambria Math" panose="02040503050406030204" pitchFamily="18" charset="0"/>
                          </a:rPr>
                        </m:ctrlPr>
                      </m:sSupPr>
                      <m:e>
                        <m:r>
                          <a:rPr lang="en-GB" i="1">
                            <a:latin typeface="Cambria Math" panose="02040503050406030204" pitchFamily="18" charset="0"/>
                          </a:rPr>
                          <m:t>𝑎</m:t>
                        </m:r>
                      </m:e>
                      <m:sup>
                        <m:r>
                          <a:rPr lang="en-GB" i="1">
                            <a:latin typeface="Cambria Math" panose="02040503050406030204" pitchFamily="18" charset="0"/>
                          </a:rPr>
                          <m:t>2</m:t>
                        </m:r>
                      </m:sup>
                    </m:sSup>
                    <m:r>
                      <a:rPr lang="en-GB" i="1">
                        <a:latin typeface="Cambria Math" panose="02040503050406030204" pitchFamily="18" charset="0"/>
                      </a:rPr>
                      <m:t>=</m:t>
                    </m:r>
                    <m:sSup>
                      <m:sSupPr>
                        <m:ctrlPr>
                          <a:rPr lang="en-GB" i="1">
                            <a:latin typeface="Cambria Math" panose="02040503050406030204" pitchFamily="18" charset="0"/>
                          </a:rPr>
                        </m:ctrlPr>
                      </m:sSupPr>
                      <m:e>
                        <m:r>
                          <a:rPr lang="en-GB" i="1">
                            <a:latin typeface="Cambria Math" panose="02040503050406030204" pitchFamily="18" charset="0"/>
                          </a:rPr>
                          <m:t>𝑏</m:t>
                        </m:r>
                      </m:e>
                      <m:sup>
                        <m:r>
                          <a:rPr lang="en-GB" i="1">
                            <a:latin typeface="Cambria Math" panose="02040503050406030204" pitchFamily="18" charset="0"/>
                          </a:rPr>
                          <m:t>2</m:t>
                        </m:r>
                      </m:sup>
                    </m:sSup>
                    <m:r>
                      <a:rPr lang="en-GB" i="1">
                        <a:latin typeface="Cambria Math" panose="02040503050406030204" pitchFamily="18" charset="0"/>
                      </a:rPr>
                      <m:t>+</m:t>
                    </m:r>
                    <m:sSup>
                      <m:sSupPr>
                        <m:ctrlPr>
                          <a:rPr lang="en-GB" i="1">
                            <a:latin typeface="Cambria Math" panose="02040503050406030204" pitchFamily="18" charset="0"/>
                          </a:rPr>
                        </m:ctrlPr>
                      </m:sSupPr>
                      <m:e>
                        <m:r>
                          <a:rPr lang="en-GB" i="1">
                            <a:latin typeface="Cambria Math" panose="02040503050406030204" pitchFamily="18" charset="0"/>
                          </a:rPr>
                          <m:t>𝑐</m:t>
                        </m:r>
                      </m:e>
                      <m:sup>
                        <m:r>
                          <a:rPr lang="en-GB" i="1">
                            <a:latin typeface="Cambria Math" panose="02040503050406030204" pitchFamily="18" charset="0"/>
                          </a:rPr>
                          <m:t>2</m:t>
                        </m:r>
                      </m:sup>
                    </m:sSup>
                    <m:r>
                      <a:rPr lang="en-GB" i="1">
                        <a:latin typeface="Cambria Math" panose="02040503050406030204" pitchFamily="18" charset="0"/>
                      </a:rPr>
                      <m:t>−2</m:t>
                    </m:r>
                    <m:r>
                      <a:rPr lang="en-GB" i="1">
                        <a:latin typeface="Cambria Math" panose="02040503050406030204" pitchFamily="18" charset="0"/>
                      </a:rPr>
                      <m:t>𝑏𝑐𝐶𝑜𝑠𝐴</m:t>
                    </m:r>
                  </m:oMath>
                </a14:m>
                <a:r>
                  <a:rPr lang="en-GB"/>
                  <a:t>, where a, b and c are the lengths of the sides, and A is the size of the angle opposite to the side with length a. The order in which b and c are given does not matter.</a:t>
                </a:r>
              </a:p>
              <a:p>
                <a:endParaRPr lang="en-US"/>
              </a:p>
            </p:txBody>
          </p:sp>
        </mc:Choice>
        <mc:Fallback xmlns="">
          <p:sp>
            <p:nvSpPr>
              <p:cNvPr id="5" name="Text Placeholder 4">
                <a:extLst>
                  <a:ext uri="{FF2B5EF4-FFF2-40B4-BE49-F238E27FC236}">
                    <a16:creationId xmlns:a16="http://schemas.microsoft.com/office/drawing/2014/main" id="{8C3E683F-94E0-B462-AA46-46F7AED51DEB}"/>
                  </a:ext>
                </a:extLst>
              </p:cNvPr>
              <p:cNvSpPr>
                <a:spLocks noGrp="1" noRot="1" noChangeAspect="1" noMove="1" noResize="1" noEditPoints="1" noAdjustHandles="1" noChangeArrowheads="1" noChangeShapeType="1" noTextEdit="1"/>
              </p:cNvSpPr>
              <p:nvPr>
                <p:ph type="body" sz="quarter" idx="10"/>
              </p:nvPr>
            </p:nvSpPr>
            <p:spPr>
              <a:xfrm>
                <a:off x="333375" y="1276425"/>
                <a:ext cx="4125891" cy="3306762"/>
              </a:xfrm>
              <a:blipFill>
                <a:blip r:embed="rId3"/>
                <a:stretch>
                  <a:fillRect l="-1625" t="-1842" r="-1773"/>
                </a:stretch>
              </a:blipFill>
            </p:spPr>
            <p:txBody>
              <a:bodyPr/>
              <a:lstStyle/>
              <a:p>
                <a:r>
                  <a:rPr lang="en-US">
                    <a:noFill/>
                  </a:rPr>
                  <a:t> </a:t>
                </a:r>
              </a:p>
            </p:txBody>
          </p:sp>
        </mc:Fallback>
      </mc:AlternateContent>
      <p:sp>
        <p:nvSpPr>
          <p:cNvPr id="3" name="Title 2">
            <a:extLst>
              <a:ext uri="{FF2B5EF4-FFF2-40B4-BE49-F238E27FC236}">
                <a16:creationId xmlns:a16="http://schemas.microsoft.com/office/drawing/2014/main" id="{09C249CD-EC57-4C36-802C-A15E67248988}"/>
              </a:ext>
            </a:extLst>
          </p:cNvPr>
          <p:cNvSpPr>
            <a:spLocks noGrp="1"/>
          </p:cNvSpPr>
          <p:nvPr>
            <p:ph type="title"/>
          </p:nvPr>
        </p:nvSpPr>
        <p:spPr>
          <a:xfrm>
            <a:off x="334107" y="423741"/>
            <a:ext cx="11486417" cy="572721"/>
          </a:xfrm>
        </p:spPr>
        <p:txBody>
          <a:bodyPr/>
          <a:lstStyle/>
          <a:p>
            <a:r>
              <a:rPr lang="en-GB"/>
              <a:t>Cosine Rule</a:t>
            </a:r>
          </a:p>
        </p:txBody>
      </p:sp>
      <p:sp>
        <p:nvSpPr>
          <p:cNvPr id="2" name="Triangle 1">
            <a:extLst>
              <a:ext uri="{FF2B5EF4-FFF2-40B4-BE49-F238E27FC236}">
                <a16:creationId xmlns:a16="http://schemas.microsoft.com/office/drawing/2014/main" id="{948B6CB0-1329-0185-C5C3-BC52FFEC89EE}"/>
              </a:ext>
            </a:extLst>
          </p:cNvPr>
          <p:cNvSpPr/>
          <p:nvPr/>
        </p:nvSpPr>
        <p:spPr>
          <a:xfrm>
            <a:off x="6877878" y="2315817"/>
            <a:ext cx="3717235" cy="2415209"/>
          </a:xfrm>
          <a:prstGeom prst="triangle">
            <a:avLst>
              <a:gd name="adj" fmla="val 26498"/>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2E7B875C-DA01-B1B0-024E-D0B7A96D1050}"/>
              </a:ext>
            </a:extLst>
          </p:cNvPr>
          <p:cNvSpPr/>
          <p:nvPr/>
        </p:nvSpPr>
        <p:spPr>
          <a:xfrm>
            <a:off x="7404652" y="1659835"/>
            <a:ext cx="556591" cy="5565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3E1A1C"/>
                </a:solidFill>
                <a:latin typeface="Inter" panose="02000503000000020004" pitchFamily="2" charset="0"/>
                <a:ea typeface="Inter" panose="02000503000000020004" pitchFamily="2" charset="0"/>
              </a:rPr>
              <a:t>B</a:t>
            </a:r>
          </a:p>
        </p:txBody>
      </p:sp>
      <p:sp>
        <p:nvSpPr>
          <p:cNvPr id="7" name="Rectangle 6">
            <a:extLst>
              <a:ext uri="{FF2B5EF4-FFF2-40B4-BE49-F238E27FC236}">
                <a16:creationId xmlns:a16="http://schemas.microsoft.com/office/drawing/2014/main" id="{19268577-45F0-80D4-42F9-DE1AD05FB3AD}"/>
              </a:ext>
            </a:extLst>
          </p:cNvPr>
          <p:cNvSpPr/>
          <p:nvPr/>
        </p:nvSpPr>
        <p:spPr>
          <a:xfrm>
            <a:off x="8458200" y="4939748"/>
            <a:ext cx="556591" cy="5565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3E1A1C"/>
                </a:solidFill>
                <a:latin typeface="Inter" panose="02000503000000020004" pitchFamily="2" charset="0"/>
                <a:ea typeface="Inter" panose="02000503000000020004" pitchFamily="2" charset="0"/>
              </a:rPr>
              <a:t>b</a:t>
            </a:r>
          </a:p>
        </p:txBody>
      </p:sp>
      <p:sp>
        <p:nvSpPr>
          <p:cNvPr id="8" name="Rectangle 7">
            <a:extLst>
              <a:ext uri="{FF2B5EF4-FFF2-40B4-BE49-F238E27FC236}">
                <a16:creationId xmlns:a16="http://schemas.microsoft.com/office/drawing/2014/main" id="{B266CC09-BA27-8B69-D421-43E1AC15DF9F}"/>
              </a:ext>
            </a:extLst>
          </p:cNvPr>
          <p:cNvSpPr/>
          <p:nvPr/>
        </p:nvSpPr>
        <p:spPr>
          <a:xfrm>
            <a:off x="9551504" y="3031435"/>
            <a:ext cx="556591" cy="55659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3E1A1C"/>
                </a:solidFill>
                <a:latin typeface="Inter" panose="02000503000000020004" pitchFamily="2" charset="0"/>
                <a:ea typeface="Inter" panose="02000503000000020004" pitchFamily="2" charset="0"/>
              </a:rPr>
              <a:t>a</a:t>
            </a:r>
          </a:p>
        </p:txBody>
      </p:sp>
      <p:sp>
        <p:nvSpPr>
          <p:cNvPr id="9" name="Rectangle 8">
            <a:extLst>
              <a:ext uri="{FF2B5EF4-FFF2-40B4-BE49-F238E27FC236}">
                <a16:creationId xmlns:a16="http://schemas.microsoft.com/office/drawing/2014/main" id="{84D2D9A8-5BDC-CB13-5C03-85FB2706C73B}"/>
              </a:ext>
            </a:extLst>
          </p:cNvPr>
          <p:cNvSpPr/>
          <p:nvPr/>
        </p:nvSpPr>
        <p:spPr>
          <a:xfrm>
            <a:off x="6082748" y="4462669"/>
            <a:ext cx="556591" cy="55659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3E1A1C"/>
                </a:solidFill>
                <a:latin typeface="Inter" panose="02000503000000020004" pitchFamily="2" charset="0"/>
                <a:ea typeface="Inter" panose="02000503000000020004" pitchFamily="2" charset="0"/>
              </a:rPr>
              <a:t>A</a:t>
            </a:r>
          </a:p>
        </p:txBody>
      </p:sp>
      <p:sp>
        <p:nvSpPr>
          <p:cNvPr id="10" name="Rectangle 9">
            <a:extLst>
              <a:ext uri="{FF2B5EF4-FFF2-40B4-BE49-F238E27FC236}">
                <a16:creationId xmlns:a16="http://schemas.microsoft.com/office/drawing/2014/main" id="{2CC8D77B-9BDF-317A-8633-7C5CB8BB538B}"/>
              </a:ext>
            </a:extLst>
          </p:cNvPr>
          <p:cNvSpPr/>
          <p:nvPr/>
        </p:nvSpPr>
        <p:spPr>
          <a:xfrm>
            <a:off x="6470374" y="2971800"/>
            <a:ext cx="556591" cy="55659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Inter" panose="02000503000000020004" pitchFamily="2" charset="0"/>
                <a:ea typeface="Inter" panose="02000503000000020004" pitchFamily="2" charset="0"/>
              </a:rPr>
              <a:t>c</a:t>
            </a:r>
          </a:p>
        </p:txBody>
      </p:sp>
      <p:sp>
        <p:nvSpPr>
          <p:cNvPr id="11" name="Rectangle 10">
            <a:extLst>
              <a:ext uri="{FF2B5EF4-FFF2-40B4-BE49-F238E27FC236}">
                <a16:creationId xmlns:a16="http://schemas.microsoft.com/office/drawing/2014/main" id="{DFC4D685-3C7E-4974-7744-5AA4BEB1A5C7}"/>
              </a:ext>
            </a:extLst>
          </p:cNvPr>
          <p:cNvSpPr/>
          <p:nvPr/>
        </p:nvSpPr>
        <p:spPr>
          <a:xfrm>
            <a:off x="10843592" y="4502426"/>
            <a:ext cx="556591" cy="55659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Inter" panose="02000503000000020004" pitchFamily="2" charset="0"/>
                <a:ea typeface="Inter" panose="02000503000000020004" pitchFamily="2" charset="0"/>
              </a:rPr>
              <a:t>C</a:t>
            </a:r>
          </a:p>
        </p:txBody>
      </p:sp>
      <p:pic>
        <p:nvPicPr>
          <p:cNvPr id="6" name="Graphic 5">
            <a:extLst>
              <a:ext uri="{FF2B5EF4-FFF2-40B4-BE49-F238E27FC236}">
                <a16:creationId xmlns:a16="http://schemas.microsoft.com/office/drawing/2014/main" id="{8DE1FD92-2ACA-DB05-D22A-3719BA094E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451152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0D06EF-607B-4C89-0B88-C491ACBE80E3}"/>
              </a:ext>
            </a:extLst>
          </p:cNvPr>
          <p:cNvSpPr/>
          <p:nvPr/>
        </p:nvSpPr>
        <p:spPr>
          <a:xfrm>
            <a:off x="788726" y="1289425"/>
            <a:ext cx="8696877" cy="1569660"/>
          </a:xfrm>
          <a:prstGeom prst="rect">
            <a:avLst/>
          </a:prstGeom>
        </p:spPr>
        <p:txBody>
          <a:bodyPr wrap="square">
            <a:spAutoFit/>
          </a:bodyPr>
          <a:lstStyle/>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marL="342900" indent="-342900">
              <a:buAutoNum type="arabicPeriod"/>
            </a:pPr>
            <a:endParaRPr lang="en-US" sz="2000">
              <a:solidFill>
                <a:schemeClr val="tx2"/>
              </a:solidFill>
              <a:latin typeface="Inter" panose="02000503000000020004" pitchFamily="2" charset="0"/>
              <a:ea typeface="Inter" panose="02000503000000020004" pitchFamily="2" charset="0"/>
              <a:cs typeface="Calibri" panose="020F0502020204030204"/>
            </a:endParaRPr>
          </a:p>
          <a:p>
            <a:pPr lvl="0">
              <a:tabLst>
                <a:tab pos="457200" algn="l"/>
              </a:tabLst>
            </a:pPr>
            <a:endParaRPr lang="en-US" sz="1600" b="1">
              <a:latin typeface="Segoe UI" panose="020B0502040204020203" pitchFamily="34" charset="0"/>
            </a:endParaRPr>
          </a:p>
        </p:txBody>
      </p:sp>
      <p:sp>
        <p:nvSpPr>
          <p:cNvPr id="3" name="Title 2">
            <a:extLst>
              <a:ext uri="{FF2B5EF4-FFF2-40B4-BE49-F238E27FC236}">
                <a16:creationId xmlns:a16="http://schemas.microsoft.com/office/drawing/2014/main" id="{C5690CC2-D037-4DDF-B1A0-4DF23A5579EA}"/>
              </a:ext>
            </a:extLst>
          </p:cNvPr>
          <p:cNvSpPr>
            <a:spLocks noGrp="1"/>
          </p:cNvSpPr>
          <p:nvPr>
            <p:ph type="title"/>
          </p:nvPr>
        </p:nvSpPr>
        <p:spPr/>
        <p:txBody>
          <a:bodyPr/>
          <a:lstStyle/>
          <a:p>
            <a:r>
              <a:rPr lang="en-GB"/>
              <a:t>Trigonometry – The Solution</a:t>
            </a:r>
          </a:p>
        </p:txBody>
      </p:sp>
      <p:sp>
        <p:nvSpPr>
          <p:cNvPr id="9" name="TextBox 8">
            <a:extLst>
              <a:ext uri="{FF2B5EF4-FFF2-40B4-BE49-F238E27FC236}">
                <a16:creationId xmlns:a16="http://schemas.microsoft.com/office/drawing/2014/main" id="{CD4C9692-4A34-4C43-BC85-D2B7C307AE62}"/>
              </a:ext>
            </a:extLst>
          </p:cNvPr>
          <p:cNvSpPr txBox="1"/>
          <p:nvPr/>
        </p:nvSpPr>
        <p:spPr>
          <a:xfrm>
            <a:off x="3652295" y="1353294"/>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a</a:t>
            </a:r>
          </a:p>
        </p:txBody>
      </p:sp>
      <p:sp>
        <p:nvSpPr>
          <p:cNvPr id="17" name="TextBox 16">
            <a:extLst>
              <a:ext uri="{FF2B5EF4-FFF2-40B4-BE49-F238E27FC236}">
                <a16:creationId xmlns:a16="http://schemas.microsoft.com/office/drawing/2014/main" id="{2C6165C4-5018-4BE4-86F4-624AC3F4FE9C}"/>
              </a:ext>
            </a:extLst>
          </p:cNvPr>
          <p:cNvSpPr txBox="1"/>
          <p:nvPr/>
        </p:nvSpPr>
        <p:spPr>
          <a:xfrm>
            <a:off x="4155417" y="3666664"/>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b</a:t>
            </a:r>
          </a:p>
        </p:txBody>
      </p:sp>
      <p:sp>
        <p:nvSpPr>
          <p:cNvPr id="20" name="TextBox 19">
            <a:extLst>
              <a:ext uri="{FF2B5EF4-FFF2-40B4-BE49-F238E27FC236}">
                <a16:creationId xmlns:a16="http://schemas.microsoft.com/office/drawing/2014/main" id="{615A55D3-887F-4514-ACB5-119EBBC02977}"/>
              </a:ext>
            </a:extLst>
          </p:cNvPr>
          <p:cNvSpPr txBox="1"/>
          <p:nvPr/>
        </p:nvSpPr>
        <p:spPr>
          <a:xfrm>
            <a:off x="625710" y="3250562"/>
            <a:ext cx="463463" cy="584775"/>
          </a:xfrm>
          <a:prstGeom prst="rect">
            <a:avLst/>
          </a:prstGeom>
          <a:noFill/>
        </p:spPr>
        <p:txBody>
          <a:bodyPr wrap="square" rtlCol="0">
            <a:spAutoFit/>
          </a:bodyPr>
          <a:lstStyle/>
          <a:p>
            <a:r>
              <a:rPr lang="en-GB" sz="3200">
                <a:latin typeface="Inter" panose="02000503000000020004" pitchFamily="2" charset="0"/>
                <a:ea typeface="Inter" panose="02000503000000020004" pitchFamily="2" charset="0"/>
              </a:rPr>
              <a:t>c</a:t>
            </a:r>
          </a:p>
        </p:txBody>
      </p:sp>
      <p:sp>
        <p:nvSpPr>
          <p:cNvPr id="12" name="TextBox 11">
            <a:extLst>
              <a:ext uri="{FF2B5EF4-FFF2-40B4-BE49-F238E27FC236}">
                <a16:creationId xmlns:a16="http://schemas.microsoft.com/office/drawing/2014/main" id="{11B70093-6235-3D0C-295D-768B62689076}"/>
              </a:ext>
            </a:extLst>
          </p:cNvPr>
          <p:cNvSpPr txBox="1"/>
          <p:nvPr/>
        </p:nvSpPr>
        <p:spPr>
          <a:xfrm>
            <a:off x="3432581" y="3800692"/>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8m</a:t>
            </a:r>
          </a:p>
        </p:txBody>
      </p:sp>
      <p:sp>
        <p:nvSpPr>
          <p:cNvPr id="15" name="TextBox 14">
            <a:extLst>
              <a:ext uri="{FF2B5EF4-FFF2-40B4-BE49-F238E27FC236}">
                <a16:creationId xmlns:a16="http://schemas.microsoft.com/office/drawing/2014/main" id="{CED5BF76-525F-76D0-C948-03FE0461F86E}"/>
              </a:ext>
            </a:extLst>
          </p:cNvPr>
          <p:cNvSpPr txBox="1"/>
          <p:nvPr/>
        </p:nvSpPr>
        <p:spPr>
          <a:xfrm>
            <a:off x="450933" y="3006305"/>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5m</a:t>
            </a:r>
          </a:p>
        </p:txBody>
      </p:sp>
      <p:sp>
        <p:nvSpPr>
          <p:cNvPr id="22" name="TextBox 21">
            <a:extLst>
              <a:ext uri="{FF2B5EF4-FFF2-40B4-BE49-F238E27FC236}">
                <a16:creationId xmlns:a16="http://schemas.microsoft.com/office/drawing/2014/main" id="{F0811907-3A82-3C21-0A97-E9EBBA8F5B3B}"/>
              </a:ext>
            </a:extLst>
          </p:cNvPr>
          <p:cNvSpPr txBox="1"/>
          <p:nvPr/>
        </p:nvSpPr>
        <p:spPr>
          <a:xfrm>
            <a:off x="2789125" y="1512027"/>
            <a:ext cx="1553227" cy="400110"/>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1.65m</a:t>
            </a:r>
          </a:p>
        </p:txBody>
      </p:sp>
      <p:cxnSp>
        <p:nvCxnSpPr>
          <p:cNvPr id="23" name="Straight Connector 22">
            <a:extLst>
              <a:ext uri="{FF2B5EF4-FFF2-40B4-BE49-F238E27FC236}">
                <a16:creationId xmlns:a16="http://schemas.microsoft.com/office/drawing/2014/main" id="{12AAE739-7C7E-1427-17EB-2FB84A79125B}"/>
              </a:ext>
            </a:extLst>
          </p:cNvPr>
          <p:cNvCxnSpPr>
            <a:cxnSpLocks/>
          </p:cNvCxnSpPr>
          <p:nvPr/>
        </p:nvCxnSpPr>
        <p:spPr>
          <a:xfrm flipH="1" flipV="1">
            <a:off x="1339692" y="1742517"/>
            <a:ext cx="475989" cy="3194137"/>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04AE396-75E3-E58C-2BAD-07BC94C4D108}"/>
              </a:ext>
            </a:extLst>
          </p:cNvPr>
          <p:cNvCxnSpPr>
            <a:cxnSpLocks/>
          </p:cNvCxnSpPr>
          <p:nvPr/>
        </p:nvCxnSpPr>
        <p:spPr>
          <a:xfrm flipV="1">
            <a:off x="1815681" y="2639879"/>
            <a:ext cx="3018772" cy="2296776"/>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BEBD488-9EC5-4049-F2CC-F8491C36B8FA}"/>
              </a:ext>
            </a:extLst>
          </p:cNvPr>
          <p:cNvCxnSpPr>
            <a:cxnSpLocks/>
          </p:cNvCxnSpPr>
          <p:nvPr/>
        </p:nvCxnSpPr>
        <p:spPr>
          <a:xfrm flipH="1" flipV="1">
            <a:off x="1329418" y="1742517"/>
            <a:ext cx="3494761" cy="926926"/>
          </a:xfrm>
          <a:prstGeom prst="line">
            <a:avLst/>
          </a:prstGeom>
        </p:spPr>
        <p:style>
          <a:lnRef idx="1">
            <a:schemeClr val="dk1"/>
          </a:lnRef>
          <a:fillRef idx="0">
            <a:schemeClr val="dk1"/>
          </a:fillRef>
          <a:effectRef idx="0">
            <a:schemeClr val="dk1"/>
          </a:effectRef>
          <a:fontRef idx="minor">
            <a:schemeClr val="tx1"/>
          </a:fontRef>
        </p:style>
      </p:cxnSp>
      <p:sp>
        <p:nvSpPr>
          <p:cNvPr id="26" name="Arc 25">
            <a:extLst>
              <a:ext uri="{FF2B5EF4-FFF2-40B4-BE49-F238E27FC236}">
                <a16:creationId xmlns:a16="http://schemas.microsoft.com/office/drawing/2014/main" id="{19601579-D320-5CB3-D372-7333A31F415A}"/>
              </a:ext>
            </a:extLst>
          </p:cNvPr>
          <p:cNvSpPr/>
          <p:nvPr/>
        </p:nvSpPr>
        <p:spPr>
          <a:xfrm>
            <a:off x="1277058" y="4384282"/>
            <a:ext cx="951978" cy="552372"/>
          </a:xfrm>
          <a:prstGeom prst="arc">
            <a:avLst>
              <a:gd name="adj1" fmla="val 15871907"/>
              <a:gd name="adj2" fmla="val 21323437"/>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7" name="TextBox 26">
            <a:extLst>
              <a:ext uri="{FF2B5EF4-FFF2-40B4-BE49-F238E27FC236}">
                <a16:creationId xmlns:a16="http://schemas.microsoft.com/office/drawing/2014/main" id="{F89928EC-5BD8-765B-3B07-95709DB5FF1E}"/>
              </a:ext>
            </a:extLst>
          </p:cNvPr>
          <p:cNvSpPr txBox="1"/>
          <p:nvPr/>
        </p:nvSpPr>
        <p:spPr>
          <a:xfrm>
            <a:off x="1890839" y="4030513"/>
            <a:ext cx="400831" cy="369332"/>
          </a:xfrm>
          <a:prstGeom prst="rect">
            <a:avLst/>
          </a:prstGeom>
          <a:noFill/>
        </p:spPr>
        <p:txBody>
          <a:bodyPr wrap="square" rtlCol="0">
            <a:spAutoFit/>
          </a:bodyPr>
          <a:lstStyle/>
          <a:p>
            <a:r>
              <a:rPr lang="en-GB" b="1">
                <a:latin typeface="Inter" panose="02000503000000020004" pitchFamily="2" charset="0"/>
                <a:ea typeface="Inter" panose="02000503000000020004" pitchFamily="2" charset="0"/>
              </a:rPr>
              <a:t>X</a:t>
            </a:r>
          </a:p>
        </p:txBody>
      </p:sp>
      <p:sp>
        <p:nvSpPr>
          <p:cNvPr id="28" name="Oval 27">
            <a:extLst>
              <a:ext uri="{FF2B5EF4-FFF2-40B4-BE49-F238E27FC236}">
                <a16:creationId xmlns:a16="http://schemas.microsoft.com/office/drawing/2014/main" id="{923B5C8A-3058-365C-2E0F-7F36592BAFDB}"/>
              </a:ext>
            </a:extLst>
          </p:cNvPr>
          <p:cNvSpPr/>
          <p:nvPr/>
        </p:nvSpPr>
        <p:spPr>
          <a:xfrm>
            <a:off x="1114222" y="1523311"/>
            <a:ext cx="475989" cy="438411"/>
          </a:xfrm>
          <a:prstGeom prst="ellipse">
            <a:avLst/>
          </a:prstGeom>
          <a:solidFill>
            <a:srgbClr val="3E1A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D</a:t>
            </a:r>
          </a:p>
        </p:txBody>
      </p:sp>
      <p:sp>
        <p:nvSpPr>
          <p:cNvPr id="29" name="Oval 28">
            <a:extLst>
              <a:ext uri="{FF2B5EF4-FFF2-40B4-BE49-F238E27FC236}">
                <a16:creationId xmlns:a16="http://schemas.microsoft.com/office/drawing/2014/main" id="{16F96BEE-952B-9D33-5372-929D7892AF2B}"/>
              </a:ext>
            </a:extLst>
          </p:cNvPr>
          <p:cNvSpPr/>
          <p:nvPr/>
        </p:nvSpPr>
        <p:spPr>
          <a:xfrm>
            <a:off x="4661175" y="2420674"/>
            <a:ext cx="475989" cy="4384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E</a:t>
            </a:r>
          </a:p>
        </p:txBody>
      </p:sp>
      <p:sp>
        <p:nvSpPr>
          <p:cNvPr id="30" name="Oval 29">
            <a:extLst>
              <a:ext uri="{FF2B5EF4-FFF2-40B4-BE49-F238E27FC236}">
                <a16:creationId xmlns:a16="http://schemas.microsoft.com/office/drawing/2014/main" id="{DF64A21A-DCC7-FC9F-46A6-B7E8A07C65C5}"/>
              </a:ext>
            </a:extLst>
          </p:cNvPr>
          <p:cNvSpPr/>
          <p:nvPr/>
        </p:nvSpPr>
        <p:spPr>
          <a:xfrm>
            <a:off x="1590211" y="4740076"/>
            <a:ext cx="475989" cy="438411"/>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latin typeface="Inter" panose="02000503000000020004" pitchFamily="2" charset="0"/>
                <a:ea typeface="Inter" panose="02000503000000020004" pitchFamily="2" charset="0"/>
              </a:rPr>
              <a:t>F</a:t>
            </a:r>
          </a:p>
        </p:txBody>
      </p:sp>
      <p:sp>
        <p:nvSpPr>
          <p:cNvPr id="31" name="TextBox 30">
            <a:extLst>
              <a:ext uri="{FF2B5EF4-FFF2-40B4-BE49-F238E27FC236}">
                <a16:creationId xmlns:a16="http://schemas.microsoft.com/office/drawing/2014/main" id="{7A39364D-98E3-B36A-5D46-9EE5EFEC8924}"/>
              </a:ext>
            </a:extLst>
          </p:cNvPr>
          <p:cNvSpPr txBox="1"/>
          <p:nvPr/>
        </p:nvSpPr>
        <p:spPr>
          <a:xfrm>
            <a:off x="6814159" y="1289425"/>
            <a:ext cx="4344857" cy="1015663"/>
          </a:xfrm>
          <a:prstGeom prst="rect">
            <a:avLst/>
          </a:prstGeom>
          <a:noFill/>
        </p:spPr>
        <p:txBody>
          <a:bodyPr wrap="square" rtlCol="0">
            <a:spAutoFit/>
          </a:bodyPr>
          <a:lstStyle/>
          <a:p>
            <a:r>
              <a:rPr lang="en-GB" sz="2000">
                <a:latin typeface="Inter" panose="02000503000000020004" pitchFamily="2" charset="0"/>
                <a:ea typeface="Inter" panose="02000503000000020004" pitchFamily="2" charset="0"/>
              </a:rPr>
              <a:t>Applying the cosine rule to this question, we find that a = 1.65, b = 1.8, c = 1.5 and A = x. </a:t>
            </a:r>
          </a:p>
        </p:txBody>
      </p:sp>
      <p:pic>
        <p:nvPicPr>
          <p:cNvPr id="2" name="Graphic 1">
            <a:extLst>
              <a:ext uri="{FF2B5EF4-FFF2-40B4-BE49-F238E27FC236}">
                <a16:creationId xmlns:a16="http://schemas.microsoft.com/office/drawing/2014/main" id="{342FD605-438D-CE93-F0B8-D0BE480B70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590" y="5930283"/>
            <a:ext cx="642827" cy="589258"/>
          </a:xfrm>
          <a:prstGeom prst="rect">
            <a:avLst/>
          </a:prstGeom>
        </p:spPr>
      </p:pic>
    </p:spTree>
    <p:extLst>
      <p:ext uri="{BB962C8B-B14F-4D97-AF65-F5344CB8AC3E}">
        <p14:creationId xmlns:p14="http://schemas.microsoft.com/office/powerpoint/2010/main" val="237596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7" grpId="0"/>
      <p:bldP spid="20"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ers &amp; Skills">
  <a:themeElements>
    <a:clrScheme name="Careers &amp; Skills">
      <a:dk1>
        <a:srgbClr val="000000"/>
      </a:dk1>
      <a:lt1>
        <a:srgbClr val="FFFFFF"/>
      </a:lt1>
      <a:dk2>
        <a:srgbClr val="3E1A1C"/>
      </a:dk2>
      <a:lt2>
        <a:srgbClr val="FFFFFF"/>
      </a:lt2>
      <a:accent1>
        <a:srgbClr val="C7B2EA"/>
      </a:accent1>
      <a:accent2>
        <a:srgbClr val="3ADCC9"/>
      </a:accent2>
      <a:accent3>
        <a:srgbClr val="D0C3D0"/>
      </a:accent3>
      <a:accent4>
        <a:srgbClr val="635865"/>
      </a:accent4>
      <a:accent5>
        <a:srgbClr val="3F2A59"/>
      </a:accent5>
      <a:accent6>
        <a:srgbClr val="E3D8F5"/>
      </a:accent6>
      <a:hlink>
        <a:srgbClr val="C7B2EA"/>
      </a:hlink>
      <a:folHlink>
        <a:srgbClr val="D5C5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eswor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eswor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BT BRAND 09 SEPT 22">
      <a:dk1>
        <a:sysClr val="windowText" lastClr="000000"/>
      </a:dk1>
      <a:lt1>
        <a:sysClr val="window" lastClr="FFFFFF"/>
      </a:lt1>
      <a:dk2>
        <a:srgbClr val="87005F"/>
      </a:dk2>
      <a:lt2>
        <a:srgbClr val="142032"/>
      </a:lt2>
      <a:accent1>
        <a:srgbClr val="5514B4"/>
      </a:accent1>
      <a:accent2>
        <a:srgbClr val="009BA5"/>
      </a:accent2>
      <a:accent3>
        <a:srgbClr val="FF80FF"/>
      </a:accent3>
      <a:accent4>
        <a:srgbClr val="43B072"/>
      </a:accent4>
      <a:accent5>
        <a:srgbClr val="C81E6E"/>
      </a:accent5>
      <a:accent6>
        <a:srgbClr val="EDF23B"/>
      </a:accent6>
      <a:hlink>
        <a:srgbClr val="5514B4"/>
      </a:hlink>
      <a:folHlink>
        <a:srgbClr val="5514B4"/>
      </a:folHlink>
    </a:clrScheme>
    <a:fontScheme name="BT NEW BRAND">
      <a:majorFont>
        <a:latin typeface="BT Group Headline"/>
        <a:ea typeface=""/>
        <a:cs typeface=""/>
      </a:majorFont>
      <a:minorFont>
        <a:latin typeface="BT Curv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3B37C370094A947B45A665807D95A87" ma:contentTypeVersion="33" ma:contentTypeDescription="Create a new document." ma:contentTypeScope="" ma:versionID="e81f58c608359e745d252ca715e5d9f4">
  <xsd:schema xmlns:xsd="http://www.w3.org/2001/XMLSchema" xmlns:xs="http://www.w3.org/2001/XMLSchema" xmlns:p="http://schemas.microsoft.com/office/2006/metadata/properties" xmlns:ns1="c51e0c16-3c70-4bed-930f-b02839d0dd8b" xmlns:ns3="5f308053-a768-43f1-bf66-06210bb74c0d" targetNamespace="http://schemas.microsoft.com/office/2006/metadata/properties" ma:root="true" ma:fieldsID="e1a01f29c5ff43f598b60aeb9896ffb7" ns1:_="" ns3:_="">
    <xsd:import namespace="c51e0c16-3c70-4bed-930f-b02839d0dd8b"/>
    <xsd:import namespace="5f308053-a768-43f1-bf66-06210bb74c0d"/>
    <xsd:element name="properties">
      <xsd:complexType>
        <xsd:sequence>
          <xsd:element name="documentManagement">
            <xsd:complexType>
              <xsd:all>
                <xsd:element ref="ns1:Review_x0020_Status" minOccurs="0"/>
                <xsd:element ref="ns1:Link" minOccurs="0"/>
                <xsd:element ref="ns1:_Flow_SignoffStatus" minOccurs="0"/>
                <xsd:element ref="ns1:MigrationWizId" minOccurs="0"/>
                <xsd:element ref="ns1:MigrationWizIdPermissions" minOccurs="0"/>
                <xsd:element ref="ns1:MigrationWizIdPermissionLevels" minOccurs="0"/>
                <xsd:element ref="ns1:MigrationWizIdDocumentLibraryPermissions" minOccurs="0"/>
                <xsd:element ref="ns1:MigrationWizIdSecurityGroups" minOccurs="0"/>
                <xsd:element ref="ns1:MediaServiceMetadata" minOccurs="0"/>
                <xsd:element ref="ns1:MediaServiceFastMetadata" minOccurs="0"/>
                <xsd:element ref="ns1:MediaServiceDateTaken" minOccurs="0"/>
                <xsd:element ref="ns1:MediaServiceAutoKeyPoints" minOccurs="0"/>
                <xsd:element ref="ns1:MediaServiceKeyPoints" minOccurs="0"/>
                <xsd:element ref="ns1:MediaServiceAutoTags" minOccurs="0"/>
                <xsd:element ref="ns1:MediaServiceOCR" minOccurs="0"/>
                <xsd:element ref="ns1:MediaServiceGenerationTime" minOccurs="0"/>
                <xsd:element ref="ns1:MediaServiceEventHashCode" minOccurs="0"/>
                <xsd:element ref="ns1:MediaServiceLocation" minOccurs="0"/>
                <xsd:element ref="ns3:SharedWithUsers" minOccurs="0"/>
                <xsd:element ref="ns3:SharedWithDetails" minOccurs="0"/>
                <xsd:element ref="ns1:MediaLengthInSeconds" minOccurs="0"/>
                <xsd:element ref="ns1:lcf76f155ced4ddcb4097134ff3c332f" minOccurs="0"/>
                <xsd:element ref="ns3:TaxCatchAll" minOccurs="0"/>
                <xsd:element ref="ns1:MediaServiceObjectDetectorVersions" minOccurs="0"/>
                <xsd:element ref="ns1:Progress" minOccurs="0"/>
                <xsd:element ref="ns1:Modes" minOccurs="0"/>
                <xsd:element ref="ns1:MediaServiceSearchProperties" minOccurs="0"/>
                <xsd:element ref="ns1: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1e0c16-3c70-4bed-930f-b02839d0dd8b" elementFormDefault="qualified">
    <xsd:import namespace="http://schemas.microsoft.com/office/2006/documentManagement/types"/>
    <xsd:import namespace="http://schemas.microsoft.com/office/infopath/2007/PartnerControls"/>
    <xsd:element name="Review_x0020_Status" ma:index="0" nillable="true" ma:displayName="Review Status" ma:format="Dropdown" ma:internalName="Review_x0020_Status">
      <xsd:complexType>
        <xsd:complexContent>
          <xsd:extension base="dms:MultiChoiceFillIn">
            <xsd:sequence>
              <xsd:element name="Value" maxOccurs="unbounded" minOccurs="0" nillable="true">
                <xsd:simpleType>
                  <xsd:union memberTypes="dms:Text">
                    <xsd:simpleType>
                      <xsd:restriction base="dms:Choice">
                        <xsd:enumeration value="In Process"/>
                        <xsd:enumeration value="In Review"/>
                        <xsd:enumeration value="Signed Off"/>
                      </xsd:restriction>
                    </xsd:simpleType>
                  </xsd:union>
                </xsd:simpleType>
              </xsd:element>
            </xsd:sequence>
          </xsd:extension>
        </xsd:complexContent>
      </xsd:complexType>
    </xsd:element>
    <xsd:element name="Link" ma:index="4" nillable="true" ma:displayName="Link" ma:format="Hyperlink" ma:internalName="Link"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Flow_SignoffStatus" ma:index="5" nillable="true" ma:displayName="Sign-off status" ma:hidden="true" ma:internalName="Sign_x002d_off_x0020_status" ma:readOnly="false">
      <xsd:simpleType>
        <xsd:restriction base="dms:Text"/>
      </xsd:simpleType>
    </xsd:element>
    <xsd:element name="MigrationWizId" ma:index="8" nillable="true" ma:displayName="MigrationWizId" ma:hidden="true" ma:internalName="MigrationWizId" ma:readOnly="false">
      <xsd:simpleType>
        <xsd:restriction base="dms:Text"/>
      </xsd:simpleType>
    </xsd:element>
    <xsd:element name="MigrationWizIdPermissions" ma:index="9" nillable="true" ma:displayName="MigrationWizIdPermissions" ma:hidden="true" ma:internalName="MigrationWizIdPermissions" ma:readOnly="false">
      <xsd:simpleType>
        <xsd:restriction base="dms:Text"/>
      </xsd:simpleType>
    </xsd:element>
    <xsd:element name="MigrationWizIdPermissionLevels" ma:index="10" nillable="true" ma:displayName="MigrationWizIdPermissionLevels" ma:hidden="true" ma:internalName="MigrationWizIdPermissionLevels" ma:readOnly="false">
      <xsd:simpleType>
        <xsd:restriction base="dms:Text"/>
      </xsd:simpleType>
    </xsd:element>
    <xsd:element name="MigrationWizIdDocumentLibraryPermissions" ma:index="11" nillable="true" ma:displayName="MigrationWizIdDocumentLibraryPermissions" ma:hidden="true" ma:internalName="MigrationWizIdDocumentLibraryPermissions" ma:readOnly="false">
      <xsd:simpleType>
        <xsd:restriction base="dms:Text"/>
      </xsd:simpleType>
    </xsd:element>
    <xsd:element name="MigrationWizIdSecurityGroups" ma:index="12" nillable="true" ma:displayName="MigrationWizIdSecurityGroups" ma:hidden="true" ma:internalName="MigrationWizIdSecurityGroups" ma:readOnly="false">
      <xsd:simpleType>
        <xsd:restriction base="dms:Text"/>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true">
      <xsd:simpleType>
        <xsd:restriction base="dms:Note"/>
      </xsd:simpleType>
    </xsd:element>
    <xsd:element name="MediaServiceAutoTags" ma:index="18" nillable="true" ma:displayName="Tags" ma:hidden="true" ma:internalName="MediaServiceAutoTags" ma:readOnly="true">
      <xsd:simpleType>
        <xsd:restriction base="dms:Text"/>
      </xsd:simpleType>
    </xsd:element>
    <xsd:element name="MediaServiceOCR" ma:index="19" nillable="true" ma:displayName="Extracted Text" ma:hidden="true" ma:internalName="MediaServiceOCR" ma:readOnly="true">
      <xsd:simpleType>
        <xsd:restriction base="dms:Note"/>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hidden="true" ma:internalName="MediaServiceLocation" ma:readOnly="true">
      <xsd:simpleType>
        <xsd:restriction base="dms:Text"/>
      </xsd:simpleType>
    </xsd:element>
    <xsd:element name="MediaLengthInSeconds" ma:index="26" nillable="true" ma:displayName="Length (seconds)" ma:hidden="true"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34afddb5-dc7d-4a25-90c0-e68c37b0a60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element name="Progress" ma:index="33" nillable="true" ma:displayName="Progress" ma:default="In Review" ma:description="Where is this document in process" ma:format="Dropdown" ma:internalName="Progress">
      <xsd:simpleType>
        <xsd:restriction base="dms:Choice">
          <xsd:enumeration value="In Review"/>
          <xsd:enumeration value="With TVCA Comm"/>
          <xsd:enumeration value="Live on Website"/>
          <xsd:enumeration value="Archived"/>
        </xsd:restriction>
      </xsd:simpleType>
    </xsd:element>
    <xsd:element name="Modes" ma:index="34" nillable="true" ma:displayName="Modes" ma:description="Which modes does this scheme include" ma:format="Dropdown" ma:internalName="Modes">
      <xsd:simpleType>
        <xsd:restriction base="dms:Text">
          <xsd:maxLength value="255"/>
        </xsd:restriction>
      </xsd:simpleType>
    </xsd:element>
    <xsd:element name="MediaServiceSearchProperties" ma:index="35" nillable="true" ma:displayName="MediaServiceSearchProperties" ma:hidden="true" ma:internalName="MediaServiceSearchProperties" ma:readOnly="true">
      <xsd:simpleType>
        <xsd:restriction base="dms:Note"/>
      </xsd:simpleType>
    </xsd:element>
    <xsd:element name="MediaServiceBillingMetadata" ma:index="3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308053-a768-43f1-bf66-06210bb74c0d" elementFormDefault="qualified">
    <xsd:import namespace="http://schemas.microsoft.com/office/2006/documentManagement/types"/>
    <xsd:import namespace="http://schemas.microsoft.com/office/infopath/2007/PartnerControls"/>
    <xsd:element name="SharedWithUsers" ma:index="23"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hidden="true" ma:internalName="SharedWithDetails" ma:readOnly="true">
      <xsd:simpleType>
        <xsd:restriction base="dms:Note"/>
      </xsd:simpleType>
    </xsd:element>
    <xsd:element name="TaxCatchAll" ma:index="29" nillable="true" ma:displayName="Taxonomy Catch All Column" ma:hidden="true" ma:list="{43247f23-7141-4778-a08d-7843529ef0d0}" ma:internalName="TaxCatchAll" ma:readOnly="false" ma:showField="CatchAllData" ma:web="5f308053-a768-43f1-bf66-06210bb74c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igrationWizIdPermissionLevels xmlns="c51e0c16-3c70-4bed-930f-b02839d0dd8b" xsi:nil="true"/>
    <Review_x0020_Status xmlns="c51e0c16-3c70-4bed-930f-b02839d0dd8b" xsi:nil="true"/>
    <MigrationWizId xmlns="c51e0c16-3c70-4bed-930f-b02839d0dd8b" xsi:nil="true"/>
    <MigrationWizIdPermissions xmlns="c51e0c16-3c70-4bed-930f-b02839d0dd8b" xsi:nil="true"/>
    <MigrationWizIdDocumentLibraryPermissions xmlns="c51e0c16-3c70-4bed-930f-b02839d0dd8b" xsi:nil="true"/>
    <Progress xmlns="c51e0c16-3c70-4bed-930f-b02839d0dd8b">In Review</Progress>
    <TaxCatchAll xmlns="5f308053-a768-43f1-bf66-06210bb74c0d" xsi:nil="true"/>
    <Link xmlns="c51e0c16-3c70-4bed-930f-b02839d0dd8b">
      <Url xsi:nil="true"/>
      <Description xsi:nil="true"/>
    </Link>
    <_Flow_SignoffStatus xmlns="c51e0c16-3c70-4bed-930f-b02839d0dd8b" xsi:nil="true"/>
    <lcf76f155ced4ddcb4097134ff3c332f xmlns="c51e0c16-3c70-4bed-930f-b02839d0dd8b">
      <Terms xmlns="http://schemas.microsoft.com/office/infopath/2007/PartnerControls"/>
    </lcf76f155ced4ddcb4097134ff3c332f>
    <MigrationWizIdSecurityGroups xmlns="c51e0c16-3c70-4bed-930f-b02839d0dd8b" xsi:nil="true"/>
    <Modes xmlns="c51e0c16-3c70-4bed-930f-b02839d0dd8b" xsi:nil="true"/>
  </documentManagement>
</p:properties>
</file>

<file path=customXml/itemProps1.xml><?xml version="1.0" encoding="utf-8"?>
<ds:datastoreItem xmlns:ds="http://schemas.openxmlformats.org/officeDocument/2006/customXml" ds:itemID="{C6D2492E-4D81-4DF0-AD3F-7FF32F37A567}">
  <ds:schemaRefs>
    <ds:schemaRef ds:uri="5f308053-a768-43f1-bf66-06210bb74c0d"/>
    <ds:schemaRef ds:uri="c51e0c16-3c70-4bed-930f-b02839d0dd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A592CD5-2983-4C3F-891C-5C6F3C854985}">
  <ds:schemaRefs>
    <ds:schemaRef ds:uri="http://schemas.microsoft.com/sharepoint/v3/contenttype/forms"/>
  </ds:schemaRefs>
</ds:datastoreItem>
</file>

<file path=customXml/itemProps3.xml><?xml version="1.0" encoding="utf-8"?>
<ds:datastoreItem xmlns:ds="http://schemas.openxmlformats.org/officeDocument/2006/customXml" ds:itemID="{A3392D4B-F9B8-4B52-A57E-ECCE311D2319}">
  <ds:schemaRefs>
    <ds:schemaRef ds:uri="http://schemas.microsoft.com/office/2006/documentManagement/types"/>
    <ds:schemaRef ds:uri="http://purl.org/dc/dcmitype/"/>
    <ds:schemaRef ds:uri="c51e0c16-3c70-4bed-930f-b02839d0dd8b"/>
    <ds:schemaRef ds:uri="http://www.w3.org/XML/1998/namespace"/>
    <ds:schemaRef ds:uri="http://schemas.microsoft.com/office/2006/metadata/properties"/>
    <ds:schemaRef ds:uri="5f308053-a768-43f1-bf66-06210bb74c0d"/>
    <ds:schemaRef ds:uri="http://purl.org/dc/terms/"/>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1197</Words>
  <Application>Microsoft Macintosh PowerPoint</Application>
  <PresentationFormat>Widescreen</PresentationFormat>
  <Paragraphs>174</Paragraphs>
  <Slides>14</Slides>
  <Notes>14</Notes>
  <HiddenSlides>0</HiddenSlides>
  <MMClips>1</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31" baseType="lpstr">
      <vt:lpstr>Arial</vt:lpstr>
      <vt:lpstr>BT Curve</vt:lpstr>
      <vt:lpstr>BT Group Headline</vt:lpstr>
      <vt:lpstr>Calibri</vt:lpstr>
      <vt:lpstr>Cambria Math</vt:lpstr>
      <vt:lpstr>Inter</vt:lpstr>
      <vt:lpstr>Inter Light</vt:lpstr>
      <vt:lpstr>Neurial Grotesk Light</vt:lpstr>
      <vt:lpstr>Segoe UI</vt:lpstr>
      <vt:lpstr>Tahoma</vt:lpstr>
      <vt:lpstr>Torque Book</vt:lpstr>
      <vt:lpstr>Wingdings</vt:lpstr>
      <vt:lpstr>Careers &amp; Skills</vt:lpstr>
      <vt:lpstr>2_Teesworks</vt:lpstr>
      <vt:lpstr>Teesworks</vt:lpstr>
      <vt:lpstr>Custom Design</vt:lpstr>
      <vt:lpstr>think-cell Slide</vt:lpstr>
      <vt:lpstr>Cummins –  KS4 Cosine Rule   </vt:lpstr>
      <vt:lpstr>Introduction to Cummins</vt:lpstr>
      <vt:lpstr>Introduction to Cummins</vt:lpstr>
      <vt:lpstr>Trigonometry – Posing a problem – Cosine Rule</vt:lpstr>
      <vt:lpstr>Trigonometry – The Problem</vt:lpstr>
      <vt:lpstr>Trigonometry – The Problem</vt:lpstr>
      <vt:lpstr>Trigonometry – The Problem</vt:lpstr>
      <vt:lpstr>Cosine Rule</vt:lpstr>
      <vt:lpstr>Trigonometry – The Solution</vt:lpstr>
      <vt:lpstr>Trigonometry – The Solution</vt:lpstr>
      <vt:lpstr>Trigonometry – Solving Problems</vt:lpstr>
      <vt:lpstr>Trigonometry – Generate your own question</vt:lpstr>
      <vt:lpstr>Cummins Research – Find out more:</vt:lpstr>
      <vt:lpstr>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ter.</dc:creator>
  <cp:lastModifiedBy>Emma Morris</cp:lastModifiedBy>
  <cp:revision>1</cp:revision>
  <dcterms:created xsi:type="dcterms:W3CDTF">2023-01-18T13:08:49Z</dcterms:created>
  <dcterms:modified xsi:type="dcterms:W3CDTF">2025-06-23T08:2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B37C370094A947B45A665807D95A87</vt:lpwstr>
  </property>
  <property fmtid="{D5CDD505-2E9C-101B-9397-08002B2CF9AE}" pid="3" name="MediaServiceImageTags">
    <vt:lpwstr/>
  </property>
</Properties>
</file>